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ov" ContentType="video/quicktime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</p:sldMasterIdLst>
  <p:sldIdLst>
    <p:sldId id="256" r:id="rId3"/>
    <p:sldId id="2147479008" r:id="rId4"/>
    <p:sldId id="257" r:id="rId5"/>
    <p:sldId id="258" r:id="rId6"/>
    <p:sldId id="259" r:id="rId7"/>
    <p:sldId id="260" r:id="rId8"/>
    <p:sldId id="261" r:id="rId9"/>
    <p:sldId id="262" r:id="rId10"/>
    <p:sldId id="263" r:id="rId11"/>
    <p:sldId id="264" r:id="rId12"/>
    <p:sldId id="2147479035" r:id="rId13"/>
    <p:sldId id="2147479000" r:id="rId14"/>
    <p:sldId id="2147479020" r:id="rId15"/>
    <p:sldId id="2147479026" r:id="rId16"/>
    <p:sldId id="2147479030" r:id="rId17"/>
    <p:sldId id="265" r:id="rId18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napToObjects="1">
      <p:cViewPr varScale="1">
        <p:scale>
          <a:sx n="120" d="100"/>
          <a:sy n="120" d="100"/>
        </p:scale>
        <p:origin x="1344" y="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svg"/><Relationship Id="rId1" Type="http://schemas.openxmlformats.org/officeDocument/2006/relationships/image" Target="../media/image6.png"/><Relationship Id="rId4" Type="http://schemas.openxmlformats.org/officeDocument/2006/relationships/image" Target="../media/image9.sv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svg"/><Relationship Id="rId1" Type="http://schemas.openxmlformats.org/officeDocument/2006/relationships/image" Target="../media/image6.png"/><Relationship Id="rId4" Type="http://schemas.openxmlformats.org/officeDocument/2006/relationships/image" Target="../media/image9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3A8BABD-779A-496F-A3CD-C7724FB64933}" type="doc">
      <dgm:prSet loTypeId="urn:microsoft.com/office/officeart/2005/8/layout/hierarchy1" loCatId="hierarchy" qsTypeId="urn:microsoft.com/office/officeart/2005/8/quickstyle/simple1" qsCatId="simple" csTypeId="urn:microsoft.com/office/officeart/2005/8/colors/colorful2" csCatId="colorful"/>
      <dgm:spPr/>
      <dgm:t>
        <a:bodyPr/>
        <a:lstStyle/>
        <a:p>
          <a:endParaRPr lang="en-US"/>
        </a:p>
      </dgm:t>
    </dgm:pt>
    <dgm:pt modelId="{EFE9CE83-4A7D-4465-81EC-4E9FDC9F2E5A}">
      <dgm:prSet/>
      <dgm:spPr/>
      <dgm:t>
        <a:bodyPr/>
        <a:lstStyle/>
        <a:p>
          <a:r>
            <a:rPr lang="en-US"/>
            <a:t>Solarne elektrane koriste sunčevu energiju za proizvodnju električne energije.</a:t>
          </a:r>
        </a:p>
      </dgm:t>
    </dgm:pt>
    <dgm:pt modelId="{0D7A29B6-EE40-4731-B80F-CCD96018EFDC}" type="parTrans" cxnId="{21AC0430-3AB4-44C8-AA71-13D3A19758E5}">
      <dgm:prSet/>
      <dgm:spPr/>
      <dgm:t>
        <a:bodyPr/>
        <a:lstStyle/>
        <a:p>
          <a:endParaRPr lang="en-US"/>
        </a:p>
      </dgm:t>
    </dgm:pt>
    <dgm:pt modelId="{BF9DC665-58F8-4BCD-BF9B-D568EF9D5182}" type="sibTrans" cxnId="{21AC0430-3AB4-44C8-AA71-13D3A19758E5}">
      <dgm:prSet/>
      <dgm:spPr/>
      <dgm:t>
        <a:bodyPr/>
        <a:lstStyle/>
        <a:p>
          <a:endParaRPr lang="en-US"/>
        </a:p>
      </dgm:t>
    </dgm:pt>
    <dgm:pt modelId="{A311E929-A021-4930-A1A7-3B07AD742F45}">
      <dgm:prSet/>
      <dgm:spPr/>
      <dgm:t>
        <a:bodyPr/>
        <a:lstStyle/>
        <a:p>
          <a:r>
            <a:rPr lang="en-US"/>
            <a:t>Predstavljaju čisto, obnovljivo rješenje koje smanjuje emisiju stakleničkih plinova.</a:t>
          </a:r>
        </a:p>
      </dgm:t>
    </dgm:pt>
    <dgm:pt modelId="{A50D1543-B568-4F12-8B2F-7B9791E31186}" type="parTrans" cxnId="{B41097BE-DAC1-4D58-8E49-81D298A4EFDA}">
      <dgm:prSet/>
      <dgm:spPr/>
      <dgm:t>
        <a:bodyPr/>
        <a:lstStyle/>
        <a:p>
          <a:endParaRPr lang="en-US"/>
        </a:p>
      </dgm:t>
    </dgm:pt>
    <dgm:pt modelId="{4D174671-48E4-4487-8A45-30517F7FD8F8}" type="sibTrans" cxnId="{B41097BE-DAC1-4D58-8E49-81D298A4EFDA}">
      <dgm:prSet/>
      <dgm:spPr/>
      <dgm:t>
        <a:bodyPr/>
        <a:lstStyle/>
        <a:p>
          <a:endParaRPr lang="en-US"/>
        </a:p>
      </dgm:t>
    </dgm:pt>
    <dgm:pt modelId="{3A1F405F-2B04-42B3-99AB-95309C22D2F5}" type="pres">
      <dgm:prSet presAssocID="{F3A8BABD-779A-496F-A3CD-C7724FB6493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76B76A7D-4D0D-4AA8-ACB3-AB7DFCE1591D}" type="pres">
      <dgm:prSet presAssocID="{EFE9CE83-4A7D-4465-81EC-4E9FDC9F2E5A}" presName="hierRoot1" presStyleCnt="0"/>
      <dgm:spPr/>
    </dgm:pt>
    <dgm:pt modelId="{6DCCAEB1-F48F-4167-9F72-09F399B3DACA}" type="pres">
      <dgm:prSet presAssocID="{EFE9CE83-4A7D-4465-81EC-4E9FDC9F2E5A}" presName="composite" presStyleCnt="0"/>
      <dgm:spPr/>
    </dgm:pt>
    <dgm:pt modelId="{C16FF668-472A-4403-89A7-3002CC57470A}" type="pres">
      <dgm:prSet presAssocID="{EFE9CE83-4A7D-4465-81EC-4E9FDC9F2E5A}" presName="background" presStyleLbl="node0" presStyleIdx="0" presStyleCnt="2"/>
      <dgm:spPr/>
    </dgm:pt>
    <dgm:pt modelId="{B285852A-6163-4740-8851-AB6D5F8BD0EA}" type="pres">
      <dgm:prSet presAssocID="{EFE9CE83-4A7D-4465-81EC-4E9FDC9F2E5A}" presName="text" presStyleLbl="fgAcc0" presStyleIdx="0" presStyleCnt="2">
        <dgm:presLayoutVars>
          <dgm:chPref val="3"/>
        </dgm:presLayoutVars>
      </dgm:prSet>
      <dgm:spPr/>
    </dgm:pt>
    <dgm:pt modelId="{A969CB6E-363A-41A9-A5D1-5CA6C1F4405D}" type="pres">
      <dgm:prSet presAssocID="{EFE9CE83-4A7D-4465-81EC-4E9FDC9F2E5A}" presName="hierChild2" presStyleCnt="0"/>
      <dgm:spPr/>
    </dgm:pt>
    <dgm:pt modelId="{C87D6178-F768-4B3C-B6F9-0D4CE7E243C7}" type="pres">
      <dgm:prSet presAssocID="{A311E929-A021-4930-A1A7-3B07AD742F45}" presName="hierRoot1" presStyleCnt="0"/>
      <dgm:spPr/>
    </dgm:pt>
    <dgm:pt modelId="{91298AC6-AE85-42E5-BB07-0C0A5B6A3F1D}" type="pres">
      <dgm:prSet presAssocID="{A311E929-A021-4930-A1A7-3B07AD742F45}" presName="composite" presStyleCnt="0"/>
      <dgm:spPr/>
    </dgm:pt>
    <dgm:pt modelId="{CD775A3E-0BE3-4366-B785-DBEDA7AD0AD5}" type="pres">
      <dgm:prSet presAssocID="{A311E929-A021-4930-A1A7-3B07AD742F45}" presName="background" presStyleLbl="node0" presStyleIdx="1" presStyleCnt="2"/>
      <dgm:spPr/>
    </dgm:pt>
    <dgm:pt modelId="{DFEE2C54-B7E0-457F-BDB8-367BA31A9746}" type="pres">
      <dgm:prSet presAssocID="{A311E929-A021-4930-A1A7-3B07AD742F45}" presName="text" presStyleLbl="fgAcc0" presStyleIdx="1" presStyleCnt="2">
        <dgm:presLayoutVars>
          <dgm:chPref val="3"/>
        </dgm:presLayoutVars>
      </dgm:prSet>
      <dgm:spPr/>
    </dgm:pt>
    <dgm:pt modelId="{1DA6A9F3-9FAC-4C31-8213-899CCB97CBAE}" type="pres">
      <dgm:prSet presAssocID="{A311E929-A021-4930-A1A7-3B07AD742F45}" presName="hierChild2" presStyleCnt="0"/>
      <dgm:spPr/>
    </dgm:pt>
  </dgm:ptLst>
  <dgm:cxnLst>
    <dgm:cxn modelId="{21AC0430-3AB4-44C8-AA71-13D3A19758E5}" srcId="{F3A8BABD-779A-496F-A3CD-C7724FB64933}" destId="{EFE9CE83-4A7D-4465-81EC-4E9FDC9F2E5A}" srcOrd="0" destOrd="0" parTransId="{0D7A29B6-EE40-4731-B80F-CCD96018EFDC}" sibTransId="{BF9DC665-58F8-4BCD-BF9B-D568EF9D5182}"/>
    <dgm:cxn modelId="{6F11D981-D3BD-4597-922E-08831E809ECF}" type="presOf" srcId="{EFE9CE83-4A7D-4465-81EC-4E9FDC9F2E5A}" destId="{B285852A-6163-4740-8851-AB6D5F8BD0EA}" srcOrd="0" destOrd="0" presId="urn:microsoft.com/office/officeart/2005/8/layout/hierarchy1"/>
    <dgm:cxn modelId="{B41097BE-DAC1-4D58-8E49-81D298A4EFDA}" srcId="{F3A8BABD-779A-496F-A3CD-C7724FB64933}" destId="{A311E929-A021-4930-A1A7-3B07AD742F45}" srcOrd="1" destOrd="0" parTransId="{A50D1543-B568-4F12-8B2F-7B9791E31186}" sibTransId="{4D174671-48E4-4487-8A45-30517F7FD8F8}"/>
    <dgm:cxn modelId="{2ABE48C5-504D-483A-817F-46DA1B7CA536}" type="presOf" srcId="{A311E929-A021-4930-A1A7-3B07AD742F45}" destId="{DFEE2C54-B7E0-457F-BDB8-367BA31A9746}" srcOrd="0" destOrd="0" presId="urn:microsoft.com/office/officeart/2005/8/layout/hierarchy1"/>
    <dgm:cxn modelId="{878700D4-0D25-4C04-A244-8D468585DFE5}" type="presOf" srcId="{F3A8BABD-779A-496F-A3CD-C7724FB64933}" destId="{3A1F405F-2B04-42B3-99AB-95309C22D2F5}" srcOrd="0" destOrd="0" presId="urn:microsoft.com/office/officeart/2005/8/layout/hierarchy1"/>
    <dgm:cxn modelId="{13AA8330-B285-464D-AB2F-FEC01BB4593A}" type="presParOf" srcId="{3A1F405F-2B04-42B3-99AB-95309C22D2F5}" destId="{76B76A7D-4D0D-4AA8-ACB3-AB7DFCE1591D}" srcOrd="0" destOrd="0" presId="urn:microsoft.com/office/officeart/2005/8/layout/hierarchy1"/>
    <dgm:cxn modelId="{07203A41-891E-46A6-86CC-5AC62BAC1449}" type="presParOf" srcId="{76B76A7D-4D0D-4AA8-ACB3-AB7DFCE1591D}" destId="{6DCCAEB1-F48F-4167-9F72-09F399B3DACA}" srcOrd="0" destOrd="0" presId="urn:microsoft.com/office/officeart/2005/8/layout/hierarchy1"/>
    <dgm:cxn modelId="{85472567-E433-4EBE-9648-162E604E2290}" type="presParOf" srcId="{6DCCAEB1-F48F-4167-9F72-09F399B3DACA}" destId="{C16FF668-472A-4403-89A7-3002CC57470A}" srcOrd="0" destOrd="0" presId="urn:microsoft.com/office/officeart/2005/8/layout/hierarchy1"/>
    <dgm:cxn modelId="{6DCEA76E-4C52-46C3-BE95-FF728507C673}" type="presParOf" srcId="{6DCCAEB1-F48F-4167-9F72-09F399B3DACA}" destId="{B285852A-6163-4740-8851-AB6D5F8BD0EA}" srcOrd="1" destOrd="0" presId="urn:microsoft.com/office/officeart/2005/8/layout/hierarchy1"/>
    <dgm:cxn modelId="{8603648F-FEF1-4224-BC99-1C7166172D29}" type="presParOf" srcId="{76B76A7D-4D0D-4AA8-ACB3-AB7DFCE1591D}" destId="{A969CB6E-363A-41A9-A5D1-5CA6C1F4405D}" srcOrd="1" destOrd="0" presId="urn:microsoft.com/office/officeart/2005/8/layout/hierarchy1"/>
    <dgm:cxn modelId="{B918B2D0-7F6D-47F8-9DCE-DB4CAB0E5338}" type="presParOf" srcId="{3A1F405F-2B04-42B3-99AB-95309C22D2F5}" destId="{C87D6178-F768-4B3C-B6F9-0D4CE7E243C7}" srcOrd="1" destOrd="0" presId="urn:microsoft.com/office/officeart/2005/8/layout/hierarchy1"/>
    <dgm:cxn modelId="{ECCFF055-3F6F-4DA8-9D4B-BE545E8AE13E}" type="presParOf" srcId="{C87D6178-F768-4B3C-B6F9-0D4CE7E243C7}" destId="{91298AC6-AE85-42E5-BB07-0C0A5B6A3F1D}" srcOrd="0" destOrd="0" presId="urn:microsoft.com/office/officeart/2005/8/layout/hierarchy1"/>
    <dgm:cxn modelId="{304C7E60-0675-4434-BA2C-185A5AFDECD2}" type="presParOf" srcId="{91298AC6-AE85-42E5-BB07-0C0A5B6A3F1D}" destId="{CD775A3E-0BE3-4366-B785-DBEDA7AD0AD5}" srcOrd="0" destOrd="0" presId="urn:microsoft.com/office/officeart/2005/8/layout/hierarchy1"/>
    <dgm:cxn modelId="{C0148C4A-BC35-497D-9DE5-DCCC87994F33}" type="presParOf" srcId="{91298AC6-AE85-42E5-BB07-0C0A5B6A3F1D}" destId="{DFEE2C54-B7E0-457F-BDB8-367BA31A9746}" srcOrd="1" destOrd="0" presId="urn:microsoft.com/office/officeart/2005/8/layout/hierarchy1"/>
    <dgm:cxn modelId="{0FCD97B3-C348-4708-82E3-6787E565AA75}" type="presParOf" srcId="{C87D6178-F768-4B3C-B6F9-0D4CE7E243C7}" destId="{1DA6A9F3-9FAC-4C31-8213-899CCB97CBAE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3B15323-04FC-479A-9B03-CE2DDC50A54F}" type="doc">
      <dgm:prSet loTypeId="urn:microsoft.com/office/officeart/2018/2/layout/IconLabelList" loCatId="icon" qsTypeId="urn:microsoft.com/office/officeart/2005/8/quickstyle/simple1" qsCatId="simple" csTypeId="urn:microsoft.com/office/officeart/2018/5/colors/Iconchunking_neutralbg_colorful5" csCatId="colorful" phldr="1"/>
      <dgm:spPr/>
      <dgm:t>
        <a:bodyPr/>
        <a:lstStyle/>
        <a:p>
          <a:endParaRPr lang="en-US"/>
        </a:p>
      </dgm:t>
    </dgm:pt>
    <dgm:pt modelId="{CFE0FE07-A34F-4951-A9CD-5C21934CDE56}">
      <dgm:prSet/>
      <dgm:spPr/>
      <dgm:t>
        <a:bodyPr/>
        <a:lstStyle/>
        <a:p>
          <a:r>
            <a:rPr lang="en-US" b="1" dirty="0" err="1"/>
            <a:t>Solarni</a:t>
          </a:r>
          <a:r>
            <a:rPr lang="en-US" b="1" dirty="0"/>
            <a:t> </a:t>
          </a:r>
          <a:r>
            <a:rPr lang="en-US" b="1" dirty="0" err="1"/>
            <a:t>paneli</a:t>
          </a:r>
          <a:r>
            <a:rPr lang="en-US" b="1" dirty="0"/>
            <a:t> </a:t>
          </a:r>
          <a:r>
            <a:rPr lang="en-US" b="1" dirty="0" err="1"/>
            <a:t>pretvaraju</a:t>
          </a:r>
          <a:r>
            <a:rPr lang="en-US" b="1" dirty="0"/>
            <a:t> </a:t>
          </a:r>
          <a:r>
            <a:rPr lang="en-US" b="1" dirty="0" err="1"/>
            <a:t>sunčevu</a:t>
          </a:r>
          <a:r>
            <a:rPr lang="en-US" b="1" dirty="0"/>
            <a:t> </a:t>
          </a:r>
          <a:r>
            <a:rPr lang="en-US" b="1" dirty="0" err="1"/>
            <a:t>svjetlost</a:t>
          </a:r>
          <a:r>
            <a:rPr lang="en-US" b="1" dirty="0"/>
            <a:t> u </a:t>
          </a:r>
          <a:r>
            <a:rPr lang="en-US" b="1" dirty="0" err="1"/>
            <a:t>istosmjernu</a:t>
          </a:r>
          <a:r>
            <a:rPr lang="en-US" b="1" dirty="0"/>
            <a:t> (DC) </a:t>
          </a:r>
          <a:r>
            <a:rPr lang="en-US" b="1" dirty="0" err="1"/>
            <a:t>električnu</a:t>
          </a:r>
          <a:r>
            <a:rPr lang="en-US" b="1" dirty="0"/>
            <a:t> </a:t>
          </a:r>
          <a:r>
            <a:rPr lang="en-US" b="1" dirty="0" err="1"/>
            <a:t>energiju</a:t>
          </a:r>
          <a:endParaRPr lang="en-US" b="1" dirty="0"/>
        </a:p>
      </dgm:t>
    </dgm:pt>
    <dgm:pt modelId="{03A85D94-CF37-481B-969B-B70167BF5E12}" type="parTrans" cxnId="{22B16D83-D206-42A7-B9FC-4D93735C7C99}">
      <dgm:prSet/>
      <dgm:spPr/>
      <dgm:t>
        <a:bodyPr/>
        <a:lstStyle/>
        <a:p>
          <a:endParaRPr lang="en-US"/>
        </a:p>
      </dgm:t>
    </dgm:pt>
    <dgm:pt modelId="{A286142C-1CFA-4031-B2DD-0E1801A45877}" type="sibTrans" cxnId="{22B16D83-D206-42A7-B9FC-4D93735C7C99}">
      <dgm:prSet/>
      <dgm:spPr/>
      <dgm:t>
        <a:bodyPr/>
        <a:lstStyle/>
        <a:p>
          <a:endParaRPr lang="en-US"/>
        </a:p>
      </dgm:t>
    </dgm:pt>
    <dgm:pt modelId="{B1CC1264-F392-4100-8B66-8B18487615AE}">
      <dgm:prSet/>
      <dgm:spPr/>
      <dgm:t>
        <a:bodyPr/>
        <a:lstStyle/>
        <a:p>
          <a:r>
            <a:rPr lang="en-US" dirty="0"/>
            <a:t> </a:t>
          </a:r>
          <a:r>
            <a:rPr lang="en-US" b="1" dirty="0"/>
            <a:t>Inverter </a:t>
          </a:r>
          <a:r>
            <a:rPr lang="en-US" b="1" dirty="0" err="1"/>
            <a:t>pretvara</a:t>
          </a:r>
          <a:r>
            <a:rPr lang="en-US" b="1" dirty="0"/>
            <a:t> </a:t>
          </a:r>
          <a:r>
            <a:rPr lang="en-US" b="1" dirty="0" err="1"/>
            <a:t>istosmjernu</a:t>
          </a:r>
          <a:r>
            <a:rPr lang="en-US" b="1" dirty="0"/>
            <a:t> </a:t>
          </a:r>
          <a:r>
            <a:rPr lang="en-US" b="1" dirty="0" err="1"/>
            <a:t>struju</a:t>
          </a:r>
          <a:r>
            <a:rPr lang="en-US" b="1" dirty="0"/>
            <a:t> u </a:t>
          </a:r>
          <a:r>
            <a:rPr lang="en-US" b="1" dirty="0" err="1"/>
            <a:t>izmjeničnu</a:t>
          </a:r>
          <a:r>
            <a:rPr lang="en-US" b="1" dirty="0"/>
            <a:t> (AC) </a:t>
          </a:r>
          <a:r>
            <a:rPr lang="en-US" b="1" dirty="0" err="1"/>
            <a:t>pogodnu</a:t>
          </a:r>
          <a:r>
            <a:rPr lang="en-US" b="1" dirty="0"/>
            <a:t> za </a:t>
          </a:r>
          <a:r>
            <a:rPr lang="en-US" b="1" dirty="0" err="1"/>
            <a:t>kućanstva</a:t>
          </a:r>
          <a:r>
            <a:rPr lang="en-US" b="1" dirty="0"/>
            <a:t> </a:t>
          </a:r>
          <a:r>
            <a:rPr lang="en-US" b="1" dirty="0" err="1"/>
            <a:t>i</a:t>
          </a:r>
          <a:r>
            <a:rPr lang="en-US" b="1" dirty="0"/>
            <a:t> </a:t>
          </a:r>
          <a:r>
            <a:rPr lang="en-US" b="1" dirty="0" err="1"/>
            <a:t>industriju</a:t>
          </a:r>
          <a:endParaRPr lang="en-US" b="1" dirty="0"/>
        </a:p>
      </dgm:t>
    </dgm:pt>
    <dgm:pt modelId="{27C658F0-3875-44A2-8DBC-840C5CCC9A94}" type="parTrans" cxnId="{2AD8AE53-5C1C-449B-9B59-AFDDBCDD4D87}">
      <dgm:prSet/>
      <dgm:spPr/>
      <dgm:t>
        <a:bodyPr/>
        <a:lstStyle/>
        <a:p>
          <a:endParaRPr lang="en-US"/>
        </a:p>
      </dgm:t>
    </dgm:pt>
    <dgm:pt modelId="{B48B0BFC-1676-40D8-A62B-E67E8B898689}" type="sibTrans" cxnId="{2AD8AE53-5C1C-449B-9B59-AFDDBCDD4D87}">
      <dgm:prSet/>
      <dgm:spPr/>
      <dgm:t>
        <a:bodyPr/>
        <a:lstStyle/>
        <a:p>
          <a:endParaRPr lang="en-US"/>
        </a:p>
      </dgm:t>
    </dgm:pt>
    <dgm:pt modelId="{849597ED-3149-4C89-B49C-FC7838F07DA6}" type="pres">
      <dgm:prSet presAssocID="{83B15323-04FC-479A-9B03-CE2DDC50A54F}" presName="root" presStyleCnt="0">
        <dgm:presLayoutVars>
          <dgm:dir/>
          <dgm:resizeHandles val="exact"/>
        </dgm:presLayoutVars>
      </dgm:prSet>
      <dgm:spPr/>
    </dgm:pt>
    <dgm:pt modelId="{BD107BB3-8AF8-4442-81B9-F4BEF5981526}" type="pres">
      <dgm:prSet presAssocID="{CFE0FE07-A34F-4951-A9CD-5C21934CDE56}" presName="compNode" presStyleCnt="0"/>
      <dgm:spPr/>
    </dgm:pt>
    <dgm:pt modelId="{620C4754-2299-4513-AC59-94073F8C2E83}" type="pres">
      <dgm:prSet presAssocID="{CFE0FE07-A34F-4951-A9CD-5C21934CDE56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Electrician"/>
        </a:ext>
      </dgm:extLst>
    </dgm:pt>
    <dgm:pt modelId="{0919E5A0-480F-4881-8E25-96917470C00F}" type="pres">
      <dgm:prSet presAssocID="{CFE0FE07-A34F-4951-A9CD-5C21934CDE56}" presName="spaceRect" presStyleCnt="0"/>
      <dgm:spPr/>
    </dgm:pt>
    <dgm:pt modelId="{86789E97-DB87-4387-92AB-FB6013A33D0B}" type="pres">
      <dgm:prSet presAssocID="{CFE0FE07-A34F-4951-A9CD-5C21934CDE56}" presName="textRect" presStyleLbl="revTx" presStyleIdx="0" presStyleCnt="2">
        <dgm:presLayoutVars>
          <dgm:chMax val="1"/>
          <dgm:chPref val="1"/>
        </dgm:presLayoutVars>
      </dgm:prSet>
      <dgm:spPr/>
    </dgm:pt>
    <dgm:pt modelId="{4BA11FA1-7B0D-4E8E-97E5-9262A551FE8F}" type="pres">
      <dgm:prSet presAssocID="{A286142C-1CFA-4031-B2DD-0E1801A45877}" presName="sibTrans" presStyleCnt="0"/>
      <dgm:spPr/>
    </dgm:pt>
    <dgm:pt modelId="{09356720-CD1E-4063-87E4-495FDDDA22DA}" type="pres">
      <dgm:prSet presAssocID="{B1CC1264-F392-4100-8B66-8B18487615AE}" presName="compNode" presStyleCnt="0"/>
      <dgm:spPr/>
    </dgm:pt>
    <dgm:pt modelId="{B4CAA5D9-11D8-46BD-9CF9-7A151878E033}" type="pres">
      <dgm:prSet presAssocID="{B1CC1264-F392-4100-8B66-8B18487615AE}" presName="iconRect" presStyleLbl="node1" presStyleIdx="1" presStyleCnt="2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Processor"/>
        </a:ext>
      </dgm:extLst>
    </dgm:pt>
    <dgm:pt modelId="{F488D140-5F25-4349-A178-8AD6CF906128}" type="pres">
      <dgm:prSet presAssocID="{B1CC1264-F392-4100-8B66-8B18487615AE}" presName="spaceRect" presStyleCnt="0"/>
      <dgm:spPr/>
    </dgm:pt>
    <dgm:pt modelId="{3B41818D-F7D8-42B6-9AC9-476707FEAF46}" type="pres">
      <dgm:prSet presAssocID="{B1CC1264-F392-4100-8B66-8B18487615AE}" presName="textRect" presStyleLbl="revTx" presStyleIdx="1" presStyleCnt="2">
        <dgm:presLayoutVars>
          <dgm:chMax val="1"/>
          <dgm:chPref val="1"/>
        </dgm:presLayoutVars>
      </dgm:prSet>
      <dgm:spPr/>
    </dgm:pt>
  </dgm:ptLst>
  <dgm:cxnLst>
    <dgm:cxn modelId="{A5F19F5C-1342-4FCC-B3CD-C9398702F111}" type="presOf" srcId="{B1CC1264-F392-4100-8B66-8B18487615AE}" destId="{3B41818D-F7D8-42B6-9AC9-476707FEAF46}" srcOrd="0" destOrd="0" presId="urn:microsoft.com/office/officeart/2018/2/layout/IconLabelList"/>
    <dgm:cxn modelId="{E3673445-58A8-4845-819B-B05EE7C4D825}" type="presOf" srcId="{CFE0FE07-A34F-4951-A9CD-5C21934CDE56}" destId="{86789E97-DB87-4387-92AB-FB6013A33D0B}" srcOrd="0" destOrd="0" presId="urn:microsoft.com/office/officeart/2018/2/layout/IconLabelList"/>
    <dgm:cxn modelId="{2AD8AE53-5C1C-449B-9B59-AFDDBCDD4D87}" srcId="{83B15323-04FC-479A-9B03-CE2DDC50A54F}" destId="{B1CC1264-F392-4100-8B66-8B18487615AE}" srcOrd="1" destOrd="0" parTransId="{27C658F0-3875-44A2-8DBC-840C5CCC9A94}" sibTransId="{B48B0BFC-1676-40D8-A62B-E67E8B898689}"/>
    <dgm:cxn modelId="{22B16D83-D206-42A7-B9FC-4D93735C7C99}" srcId="{83B15323-04FC-479A-9B03-CE2DDC50A54F}" destId="{CFE0FE07-A34F-4951-A9CD-5C21934CDE56}" srcOrd="0" destOrd="0" parTransId="{03A85D94-CF37-481B-969B-B70167BF5E12}" sibTransId="{A286142C-1CFA-4031-B2DD-0E1801A45877}"/>
    <dgm:cxn modelId="{F8B052B5-5F1B-4A65-B21F-4F9BC1DB4139}" type="presOf" srcId="{83B15323-04FC-479A-9B03-CE2DDC50A54F}" destId="{849597ED-3149-4C89-B49C-FC7838F07DA6}" srcOrd="0" destOrd="0" presId="urn:microsoft.com/office/officeart/2018/2/layout/IconLabelList"/>
    <dgm:cxn modelId="{9174DF56-DA78-4475-951A-41CD2D5E9FE2}" type="presParOf" srcId="{849597ED-3149-4C89-B49C-FC7838F07DA6}" destId="{BD107BB3-8AF8-4442-81B9-F4BEF5981526}" srcOrd="0" destOrd="0" presId="urn:microsoft.com/office/officeart/2018/2/layout/IconLabelList"/>
    <dgm:cxn modelId="{7AE60352-4C8B-477E-86F5-AC6E8CEF729A}" type="presParOf" srcId="{BD107BB3-8AF8-4442-81B9-F4BEF5981526}" destId="{620C4754-2299-4513-AC59-94073F8C2E83}" srcOrd="0" destOrd="0" presId="urn:microsoft.com/office/officeart/2018/2/layout/IconLabelList"/>
    <dgm:cxn modelId="{BD47E4EA-5153-4895-90FC-82F71809C3E1}" type="presParOf" srcId="{BD107BB3-8AF8-4442-81B9-F4BEF5981526}" destId="{0919E5A0-480F-4881-8E25-96917470C00F}" srcOrd="1" destOrd="0" presId="urn:microsoft.com/office/officeart/2018/2/layout/IconLabelList"/>
    <dgm:cxn modelId="{568D4592-743B-4BA9-A28F-C24D4B235673}" type="presParOf" srcId="{BD107BB3-8AF8-4442-81B9-F4BEF5981526}" destId="{86789E97-DB87-4387-92AB-FB6013A33D0B}" srcOrd="2" destOrd="0" presId="urn:microsoft.com/office/officeart/2018/2/layout/IconLabelList"/>
    <dgm:cxn modelId="{F59D115D-3398-435B-80D5-E659926BCF6D}" type="presParOf" srcId="{849597ED-3149-4C89-B49C-FC7838F07DA6}" destId="{4BA11FA1-7B0D-4E8E-97E5-9262A551FE8F}" srcOrd="1" destOrd="0" presId="urn:microsoft.com/office/officeart/2018/2/layout/IconLabelList"/>
    <dgm:cxn modelId="{F44FFA0C-31F8-4745-9914-AC6B7673C4DD}" type="presParOf" srcId="{849597ED-3149-4C89-B49C-FC7838F07DA6}" destId="{09356720-CD1E-4063-87E4-495FDDDA22DA}" srcOrd="2" destOrd="0" presId="urn:microsoft.com/office/officeart/2018/2/layout/IconLabelList"/>
    <dgm:cxn modelId="{B870A4F2-AEA2-4143-93A5-266F3B6245D2}" type="presParOf" srcId="{09356720-CD1E-4063-87E4-495FDDDA22DA}" destId="{B4CAA5D9-11D8-46BD-9CF9-7A151878E033}" srcOrd="0" destOrd="0" presId="urn:microsoft.com/office/officeart/2018/2/layout/IconLabelList"/>
    <dgm:cxn modelId="{94C6DA8D-93BE-4B69-8203-6914054FE1A8}" type="presParOf" srcId="{09356720-CD1E-4063-87E4-495FDDDA22DA}" destId="{F488D140-5F25-4349-A178-8AD6CF906128}" srcOrd="1" destOrd="0" presId="urn:microsoft.com/office/officeart/2018/2/layout/IconLabelList"/>
    <dgm:cxn modelId="{EDEFD020-5920-4221-8D33-95016F3F8CD5}" type="presParOf" srcId="{09356720-CD1E-4063-87E4-495FDDDA22DA}" destId="{3B41818D-F7D8-42B6-9AC9-476707FEAF46}" srcOrd="2" destOrd="0" presId="urn:microsoft.com/office/officeart/2018/2/layout/IconLabel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0FDB4D4-910E-4166-AA3F-C07F9C3C2445}" type="doc">
      <dgm:prSet loTypeId="urn:microsoft.com/office/officeart/2005/8/layout/vList2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8C135CCE-5DAC-465A-9BD1-E604D6B8FE8A}">
      <dgm:prSet/>
      <dgm:spPr/>
      <dgm:t>
        <a:bodyPr/>
        <a:lstStyle/>
        <a:p>
          <a:r>
            <a:rPr lang="en-US" dirty="0" err="1"/>
            <a:t>Solarni</a:t>
          </a:r>
          <a:r>
            <a:rPr lang="en-US" dirty="0"/>
            <a:t> </a:t>
          </a:r>
          <a:r>
            <a:rPr lang="en-US" dirty="0" err="1"/>
            <a:t>paneli</a:t>
          </a:r>
          <a:endParaRPr lang="en-US" dirty="0"/>
        </a:p>
      </dgm:t>
    </dgm:pt>
    <dgm:pt modelId="{BC5D76BE-4F02-43F7-B73A-657EC90C98D4}" type="parTrans" cxnId="{2FAC4894-573D-4D5F-8243-7CB8D4036F67}">
      <dgm:prSet/>
      <dgm:spPr/>
      <dgm:t>
        <a:bodyPr/>
        <a:lstStyle/>
        <a:p>
          <a:endParaRPr lang="en-US"/>
        </a:p>
      </dgm:t>
    </dgm:pt>
    <dgm:pt modelId="{2FF8558D-FF4B-4DBC-8A91-D41B7344A86F}" type="sibTrans" cxnId="{2FAC4894-573D-4D5F-8243-7CB8D4036F67}">
      <dgm:prSet/>
      <dgm:spPr/>
      <dgm:t>
        <a:bodyPr/>
        <a:lstStyle/>
        <a:p>
          <a:endParaRPr lang="en-US"/>
        </a:p>
      </dgm:t>
    </dgm:pt>
    <dgm:pt modelId="{455B7DFE-5DF7-4E9C-8709-71011CFEA6DB}">
      <dgm:prSet/>
      <dgm:spPr/>
      <dgm:t>
        <a:bodyPr/>
        <a:lstStyle/>
        <a:p>
          <a:r>
            <a:rPr lang="en-US" dirty="0"/>
            <a:t>Inverter</a:t>
          </a:r>
        </a:p>
      </dgm:t>
    </dgm:pt>
    <dgm:pt modelId="{3E3FD56C-2C26-4322-9BAF-EB2B276BFA2D}" type="parTrans" cxnId="{E6A8734B-CA91-4B40-9EE5-2639432E0470}">
      <dgm:prSet/>
      <dgm:spPr/>
      <dgm:t>
        <a:bodyPr/>
        <a:lstStyle/>
        <a:p>
          <a:endParaRPr lang="en-US"/>
        </a:p>
      </dgm:t>
    </dgm:pt>
    <dgm:pt modelId="{0373FCA8-4A76-4D2E-B742-A23BEEBA3A33}" type="sibTrans" cxnId="{E6A8734B-CA91-4B40-9EE5-2639432E0470}">
      <dgm:prSet/>
      <dgm:spPr/>
      <dgm:t>
        <a:bodyPr/>
        <a:lstStyle/>
        <a:p>
          <a:endParaRPr lang="en-US"/>
        </a:p>
      </dgm:t>
    </dgm:pt>
    <dgm:pt modelId="{5A9B275F-49BA-43BD-964E-B031034E4494}">
      <dgm:prSet/>
      <dgm:spPr/>
      <dgm:t>
        <a:bodyPr/>
        <a:lstStyle/>
        <a:p>
          <a:r>
            <a:rPr lang="en-US" dirty="0" err="1"/>
            <a:t>Baterije</a:t>
          </a:r>
          <a:r>
            <a:rPr lang="hr-HR" dirty="0"/>
            <a:t> – opcionalano za sada - budućnost!</a:t>
          </a:r>
          <a:endParaRPr lang="en-US" dirty="0"/>
        </a:p>
      </dgm:t>
    </dgm:pt>
    <dgm:pt modelId="{F33C5CBE-FE29-40A0-A19D-1254F68040FA}" type="parTrans" cxnId="{A9700FD1-064A-48D3-9A42-D3E630C54325}">
      <dgm:prSet/>
      <dgm:spPr/>
      <dgm:t>
        <a:bodyPr/>
        <a:lstStyle/>
        <a:p>
          <a:endParaRPr lang="en-US"/>
        </a:p>
      </dgm:t>
    </dgm:pt>
    <dgm:pt modelId="{0274636E-BFB5-4657-81D9-30472363CBC4}" type="sibTrans" cxnId="{A9700FD1-064A-48D3-9A42-D3E630C54325}">
      <dgm:prSet/>
      <dgm:spPr/>
      <dgm:t>
        <a:bodyPr/>
        <a:lstStyle/>
        <a:p>
          <a:endParaRPr lang="en-US"/>
        </a:p>
      </dgm:t>
    </dgm:pt>
    <dgm:pt modelId="{16088AA4-4052-477B-AA4B-47288744C2CC}">
      <dgm:prSet/>
      <dgm:spPr/>
      <dgm:t>
        <a:bodyPr/>
        <a:lstStyle/>
        <a:p>
          <a:r>
            <a:rPr lang="en-US" dirty="0" err="1"/>
            <a:t>Električni</a:t>
          </a:r>
          <a:r>
            <a:rPr lang="en-US" dirty="0"/>
            <a:t> </a:t>
          </a:r>
          <a:r>
            <a:rPr lang="en-US" dirty="0" err="1"/>
            <a:t>ormari</a:t>
          </a:r>
          <a:r>
            <a:rPr lang="en-US" dirty="0"/>
            <a:t> </a:t>
          </a:r>
          <a:r>
            <a:rPr lang="en-US" dirty="0" err="1"/>
            <a:t>i</a:t>
          </a:r>
          <a:r>
            <a:rPr lang="en-US" dirty="0"/>
            <a:t> </a:t>
          </a:r>
          <a:r>
            <a:rPr lang="en-US" dirty="0" err="1"/>
            <a:t>mrežni</a:t>
          </a:r>
          <a:r>
            <a:rPr lang="en-US" dirty="0"/>
            <a:t> </a:t>
          </a:r>
          <a:r>
            <a:rPr lang="en-US" dirty="0" err="1"/>
            <a:t>priključak</a:t>
          </a:r>
          <a:endParaRPr lang="en-US" dirty="0"/>
        </a:p>
      </dgm:t>
    </dgm:pt>
    <dgm:pt modelId="{E5BFA178-C640-4AAC-BAE4-71A5B3D92988}" type="parTrans" cxnId="{9021B332-D6A7-4CBA-9E08-DB7EFCECD5F4}">
      <dgm:prSet/>
      <dgm:spPr/>
      <dgm:t>
        <a:bodyPr/>
        <a:lstStyle/>
        <a:p>
          <a:endParaRPr lang="en-US"/>
        </a:p>
      </dgm:t>
    </dgm:pt>
    <dgm:pt modelId="{9482205A-AA5A-4B5C-A56C-ADBA37F0EACF}" type="sibTrans" cxnId="{9021B332-D6A7-4CBA-9E08-DB7EFCECD5F4}">
      <dgm:prSet/>
      <dgm:spPr/>
      <dgm:t>
        <a:bodyPr/>
        <a:lstStyle/>
        <a:p>
          <a:endParaRPr lang="en-US"/>
        </a:p>
      </dgm:t>
    </dgm:pt>
    <dgm:pt modelId="{E0B2B1D9-5243-44B4-8B9E-83497AC788C7}" type="pres">
      <dgm:prSet presAssocID="{70FDB4D4-910E-4166-AA3F-C07F9C3C2445}" presName="linear" presStyleCnt="0">
        <dgm:presLayoutVars>
          <dgm:animLvl val="lvl"/>
          <dgm:resizeHandles val="exact"/>
        </dgm:presLayoutVars>
      </dgm:prSet>
      <dgm:spPr/>
    </dgm:pt>
    <dgm:pt modelId="{6B83BD6B-14BA-4A78-A188-AD109F8AFE80}" type="pres">
      <dgm:prSet presAssocID="{8C135CCE-5DAC-465A-9BD1-E604D6B8FE8A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2FEAA5A9-7758-4496-94E5-6E654C7422A3}" type="pres">
      <dgm:prSet presAssocID="{2FF8558D-FF4B-4DBC-8A91-D41B7344A86F}" presName="spacer" presStyleCnt="0"/>
      <dgm:spPr/>
    </dgm:pt>
    <dgm:pt modelId="{9D3D83D0-D4C8-4383-9E2B-E71E6B0027B7}" type="pres">
      <dgm:prSet presAssocID="{455B7DFE-5DF7-4E9C-8709-71011CFEA6DB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F01D3755-4D48-498A-BE8E-2C61CF3EDFFD}" type="pres">
      <dgm:prSet presAssocID="{0373FCA8-4A76-4D2E-B742-A23BEEBA3A33}" presName="spacer" presStyleCnt="0"/>
      <dgm:spPr/>
    </dgm:pt>
    <dgm:pt modelId="{DB137B1C-9DA3-4513-9411-D69D154D448E}" type="pres">
      <dgm:prSet presAssocID="{5A9B275F-49BA-43BD-964E-B031034E4494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8DEBF69C-FEBA-4922-8CC5-28F5852EADED}" type="pres">
      <dgm:prSet presAssocID="{0274636E-BFB5-4657-81D9-30472363CBC4}" presName="spacer" presStyleCnt="0"/>
      <dgm:spPr/>
    </dgm:pt>
    <dgm:pt modelId="{C0040E2D-F740-460A-BE8B-7D8A88498A75}" type="pres">
      <dgm:prSet presAssocID="{16088AA4-4052-477B-AA4B-47288744C2CC}" presName="parentText" presStyleLbl="node1" presStyleIdx="3" presStyleCnt="4">
        <dgm:presLayoutVars>
          <dgm:chMax val="0"/>
          <dgm:bulletEnabled val="1"/>
        </dgm:presLayoutVars>
      </dgm:prSet>
      <dgm:spPr/>
    </dgm:pt>
  </dgm:ptLst>
  <dgm:cxnLst>
    <dgm:cxn modelId="{F6444A0A-F2B7-49B3-91FC-ADD76C22972C}" type="presOf" srcId="{8C135CCE-5DAC-465A-9BD1-E604D6B8FE8A}" destId="{6B83BD6B-14BA-4A78-A188-AD109F8AFE80}" srcOrd="0" destOrd="0" presId="urn:microsoft.com/office/officeart/2005/8/layout/vList2"/>
    <dgm:cxn modelId="{A800FD17-32F2-4F20-8F7D-2D37461C2DDD}" type="presOf" srcId="{455B7DFE-5DF7-4E9C-8709-71011CFEA6DB}" destId="{9D3D83D0-D4C8-4383-9E2B-E71E6B0027B7}" srcOrd="0" destOrd="0" presId="urn:microsoft.com/office/officeart/2005/8/layout/vList2"/>
    <dgm:cxn modelId="{9021B332-D6A7-4CBA-9E08-DB7EFCECD5F4}" srcId="{70FDB4D4-910E-4166-AA3F-C07F9C3C2445}" destId="{16088AA4-4052-477B-AA4B-47288744C2CC}" srcOrd="3" destOrd="0" parTransId="{E5BFA178-C640-4AAC-BAE4-71A5B3D92988}" sibTransId="{9482205A-AA5A-4B5C-A56C-ADBA37F0EACF}"/>
    <dgm:cxn modelId="{E6A8734B-CA91-4B40-9EE5-2639432E0470}" srcId="{70FDB4D4-910E-4166-AA3F-C07F9C3C2445}" destId="{455B7DFE-5DF7-4E9C-8709-71011CFEA6DB}" srcOrd="1" destOrd="0" parTransId="{3E3FD56C-2C26-4322-9BAF-EB2B276BFA2D}" sibTransId="{0373FCA8-4A76-4D2E-B742-A23BEEBA3A33}"/>
    <dgm:cxn modelId="{2FAC4894-573D-4D5F-8243-7CB8D4036F67}" srcId="{70FDB4D4-910E-4166-AA3F-C07F9C3C2445}" destId="{8C135CCE-5DAC-465A-9BD1-E604D6B8FE8A}" srcOrd="0" destOrd="0" parTransId="{BC5D76BE-4F02-43F7-B73A-657EC90C98D4}" sibTransId="{2FF8558D-FF4B-4DBC-8A91-D41B7344A86F}"/>
    <dgm:cxn modelId="{04D97CB1-5F53-42F4-AA07-1BCC64A0EBC6}" type="presOf" srcId="{70FDB4D4-910E-4166-AA3F-C07F9C3C2445}" destId="{E0B2B1D9-5243-44B4-8B9E-83497AC788C7}" srcOrd="0" destOrd="0" presId="urn:microsoft.com/office/officeart/2005/8/layout/vList2"/>
    <dgm:cxn modelId="{A9700FD1-064A-48D3-9A42-D3E630C54325}" srcId="{70FDB4D4-910E-4166-AA3F-C07F9C3C2445}" destId="{5A9B275F-49BA-43BD-964E-B031034E4494}" srcOrd="2" destOrd="0" parTransId="{F33C5CBE-FE29-40A0-A19D-1254F68040FA}" sibTransId="{0274636E-BFB5-4657-81D9-30472363CBC4}"/>
    <dgm:cxn modelId="{8BD3D1DA-A564-4F33-BD04-89D752A7D0E6}" type="presOf" srcId="{5A9B275F-49BA-43BD-964E-B031034E4494}" destId="{DB137B1C-9DA3-4513-9411-D69D154D448E}" srcOrd="0" destOrd="0" presId="urn:microsoft.com/office/officeart/2005/8/layout/vList2"/>
    <dgm:cxn modelId="{C61E49F6-70D4-4369-A6CE-D82079CFDBE4}" type="presOf" srcId="{16088AA4-4052-477B-AA4B-47288744C2CC}" destId="{C0040E2D-F740-460A-BE8B-7D8A88498A75}" srcOrd="0" destOrd="0" presId="urn:microsoft.com/office/officeart/2005/8/layout/vList2"/>
    <dgm:cxn modelId="{51A9EF69-8727-4B0B-97FF-ACBEDE56612D}" type="presParOf" srcId="{E0B2B1D9-5243-44B4-8B9E-83497AC788C7}" destId="{6B83BD6B-14BA-4A78-A188-AD109F8AFE80}" srcOrd="0" destOrd="0" presId="urn:microsoft.com/office/officeart/2005/8/layout/vList2"/>
    <dgm:cxn modelId="{8F325104-F186-4543-9C79-6921C2AB6C06}" type="presParOf" srcId="{E0B2B1D9-5243-44B4-8B9E-83497AC788C7}" destId="{2FEAA5A9-7758-4496-94E5-6E654C7422A3}" srcOrd="1" destOrd="0" presId="urn:microsoft.com/office/officeart/2005/8/layout/vList2"/>
    <dgm:cxn modelId="{DCED2764-C236-48F1-A35F-C4A98C9AADD3}" type="presParOf" srcId="{E0B2B1D9-5243-44B4-8B9E-83497AC788C7}" destId="{9D3D83D0-D4C8-4383-9E2B-E71E6B0027B7}" srcOrd="2" destOrd="0" presId="urn:microsoft.com/office/officeart/2005/8/layout/vList2"/>
    <dgm:cxn modelId="{E20A21BF-EAD6-4341-A19F-74F2ED35A863}" type="presParOf" srcId="{E0B2B1D9-5243-44B4-8B9E-83497AC788C7}" destId="{F01D3755-4D48-498A-BE8E-2C61CF3EDFFD}" srcOrd="3" destOrd="0" presId="urn:microsoft.com/office/officeart/2005/8/layout/vList2"/>
    <dgm:cxn modelId="{28163B62-169C-48B9-B611-7A9C95ED54B3}" type="presParOf" srcId="{E0B2B1D9-5243-44B4-8B9E-83497AC788C7}" destId="{DB137B1C-9DA3-4513-9411-D69D154D448E}" srcOrd="4" destOrd="0" presId="urn:microsoft.com/office/officeart/2005/8/layout/vList2"/>
    <dgm:cxn modelId="{506FBA3F-DB64-4AA5-B110-ECD76DAA38D5}" type="presParOf" srcId="{E0B2B1D9-5243-44B4-8B9E-83497AC788C7}" destId="{8DEBF69C-FEBA-4922-8CC5-28F5852EADED}" srcOrd="5" destOrd="0" presId="urn:microsoft.com/office/officeart/2005/8/layout/vList2"/>
    <dgm:cxn modelId="{F2C66C0F-DD78-491A-BC3E-66858C47201B}" type="presParOf" srcId="{E0B2B1D9-5243-44B4-8B9E-83497AC788C7}" destId="{C0040E2D-F740-460A-BE8B-7D8A88498A75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D5DD60B-14C3-417F-8394-303141FF85E9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88920A4-3AF6-48BD-BBEB-62248A67BC94}">
      <dgm:prSet custT="1"/>
      <dgm:spPr/>
      <dgm:t>
        <a:bodyPr/>
        <a:lstStyle/>
        <a:p>
          <a:r>
            <a:rPr lang="en-US" sz="1800" b="1" dirty="0"/>
            <a:t>1. </a:t>
          </a:r>
          <a:r>
            <a:rPr lang="en-US" sz="1800" b="1" dirty="0" err="1"/>
            <a:t>Sunčeva</a:t>
          </a:r>
          <a:r>
            <a:rPr lang="en-US" sz="1800" b="1" dirty="0"/>
            <a:t> </a:t>
          </a:r>
          <a:r>
            <a:rPr lang="en-US" sz="1800" b="1" dirty="0" err="1"/>
            <a:t>svjetlost</a:t>
          </a:r>
          <a:r>
            <a:rPr lang="en-US" sz="1800" b="1" dirty="0"/>
            <a:t> pada </a:t>
          </a:r>
          <a:r>
            <a:rPr lang="en-US" sz="1800" b="1" dirty="0" err="1"/>
            <a:t>na</a:t>
          </a:r>
          <a:r>
            <a:rPr lang="en-US" sz="1800" b="1" dirty="0"/>
            <a:t> </a:t>
          </a:r>
          <a:r>
            <a:rPr lang="en-US" sz="1800" b="1" dirty="0" err="1"/>
            <a:t>ćelije</a:t>
          </a:r>
          <a:endParaRPr lang="en-US" sz="1800" b="1" dirty="0"/>
        </a:p>
      </dgm:t>
    </dgm:pt>
    <dgm:pt modelId="{CC23473C-204F-4CDE-8B30-0A8AB8D494B2}" type="parTrans" cxnId="{8CB783A0-58F6-4EA0-AECD-0C234DAF7F69}">
      <dgm:prSet/>
      <dgm:spPr/>
      <dgm:t>
        <a:bodyPr/>
        <a:lstStyle/>
        <a:p>
          <a:endParaRPr lang="en-US"/>
        </a:p>
      </dgm:t>
    </dgm:pt>
    <dgm:pt modelId="{FC68ABC6-3369-4B5F-9F25-D4BA71E5A047}" type="sibTrans" cxnId="{8CB783A0-58F6-4EA0-AECD-0C234DAF7F69}">
      <dgm:prSet/>
      <dgm:spPr/>
      <dgm:t>
        <a:bodyPr/>
        <a:lstStyle/>
        <a:p>
          <a:endParaRPr lang="en-US"/>
        </a:p>
      </dgm:t>
    </dgm:pt>
    <dgm:pt modelId="{698F9306-F5F3-43F4-8BB7-3FBDCE3B9641}">
      <dgm:prSet/>
      <dgm:spPr/>
      <dgm:t>
        <a:bodyPr/>
        <a:lstStyle/>
        <a:p>
          <a:r>
            <a:rPr lang="hr-HR" b="1" dirty="0"/>
            <a:t>Fotoni iz sunčeve svjetlosti udaraju u fotonaponske ćelije na panelima, uzrokujući oslobađanje elektrona. Ti elektroni stvaraju električnu struju.</a:t>
          </a:r>
          <a:endParaRPr lang="en-US" b="1" dirty="0"/>
        </a:p>
      </dgm:t>
    </dgm:pt>
    <dgm:pt modelId="{08C8E520-74E4-4E7F-A217-C16C737FAE22}" type="parTrans" cxnId="{274A7B76-4673-40FD-A464-484A9E298AA8}">
      <dgm:prSet/>
      <dgm:spPr/>
      <dgm:t>
        <a:bodyPr/>
        <a:lstStyle/>
        <a:p>
          <a:endParaRPr lang="en-US"/>
        </a:p>
      </dgm:t>
    </dgm:pt>
    <dgm:pt modelId="{2694CF59-1032-42F9-9748-5C2B17105B1C}" type="sibTrans" cxnId="{274A7B76-4673-40FD-A464-484A9E298AA8}">
      <dgm:prSet/>
      <dgm:spPr/>
      <dgm:t>
        <a:bodyPr/>
        <a:lstStyle/>
        <a:p>
          <a:endParaRPr lang="en-US"/>
        </a:p>
      </dgm:t>
    </dgm:pt>
    <dgm:pt modelId="{14C094AF-5F19-4388-BB4B-5C2C8EA86DDE}">
      <dgm:prSet custT="1"/>
      <dgm:spPr/>
      <dgm:t>
        <a:bodyPr/>
        <a:lstStyle/>
        <a:p>
          <a:r>
            <a:rPr lang="en-US" sz="1800" b="1" dirty="0"/>
            <a:t>2. </a:t>
          </a:r>
          <a:r>
            <a:rPr lang="en-US" sz="1800" b="1" dirty="0" err="1"/>
            <a:t>Stvara</a:t>
          </a:r>
          <a:r>
            <a:rPr lang="en-US" sz="1800" b="1" dirty="0"/>
            <a:t> se </a:t>
          </a:r>
          <a:r>
            <a:rPr lang="en-US" sz="1800" b="1" dirty="0" err="1"/>
            <a:t>tok</a:t>
          </a:r>
          <a:r>
            <a:rPr lang="en-US" sz="1800" b="1" dirty="0"/>
            <a:t> </a:t>
          </a:r>
          <a:r>
            <a:rPr lang="en-US" sz="1800" b="1" dirty="0" err="1"/>
            <a:t>elektrona</a:t>
          </a:r>
          <a:r>
            <a:rPr lang="en-US" sz="1800" b="1" dirty="0"/>
            <a:t> (DC </a:t>
          </a:r>
          <a:r>
            <a:rPr lang="en-US" sz="1800" b="1" dirty="0" err="1"/>
            <a:t>struja</a:t>
          </a:r>
          <a:r>
            <a:rPr lang="en-US" sz="1800" b="1" dirty="0"/>
            <a:t>)</a:t>
          </a:r>
        </a:p>
      </dgm:t>
    </dgm:pt>
    <dgm:pt modelId="{647A9019-87AB-46BB-971F-2DE72449EF68}" type="parTrans" cxnId="{0070E3D5-6E24-4CAA-B657-58CAE7925BB2}">
      <dgm:prSet/>
      <dgm:spPr/>
      <dgm:t>
        <a:bodyPr/>
        <a:lstStyle/>
        <a:p>
          <a:endParaRPr lang="en-US"/>
        </a:p>
      </dgm:t>
    </dgm:pt>
    <dgm:pt modelId="{0A51A004-8FF2-4D2C-9FB4-5150673E6753}" type="sibTrans" cxnId="{0070E3D5-6E24-4CAA-B657-58CAE7925BB2}">
      <dgm:prSet/>
      <dgm:spPr/>
      <dgm:t>
        <a:bodyPr/>
        <a:lstStyle/>
        <a:p>
          <a:endParaRPr lang="en-US"/>
        </a:p>
      </dgm:t>
    </dgm:pt>
    <dgm:pt modelId="{13C306D8-4126-4074-88EC-C507A421779A}">
      <dgm:prSet custT="1"/>
      <dgm:spPr/>
      <dgm:t>
        <a:bodyPr/>
        <a:lstStyle/>
        <a:p>
          <a:r>
            <a:rPr lang="en-US" sz="1800" b="1" dirty="0"/>
            <a:t>3. Inverter </a:t>
          </a:r>
          <a:r>
            <a:rPr lang="en-US" sz="1800" b="1" dirty="0" err="1"/>
            <a:t>pretvara</a:t>
          </a:r>
          <a:r>
            <a:rPr lang="en-US" sz="1800" b="1" dirty="0"/>
            <a:t> u AC </a:t>
          </a:r>
          <a:r>
            <a:rPr lang="en-US" sz="1800" b="1" dirty="0" err="1"/>
            <a:t>struju</a:t>
          </a:r>
          <a:endParaRPr lang="en-US" sz="1800" b="1" dirty="0"/>
        </a:p>
      </dgm:t>
    </dgm:pt>
    <dgm:pt modelId="{30BC9333-BA7E-4090-9E5F-70CC9F4B87B8}" type="parTrans" cxnId="{42CF9554-FE00-4B01-930A-A2A1213A161E}">
      <dgm:prSet/>
      <dgm:spPr/>
      <dgm:t>
        <a:bodyPr/>
        <a:lstStyle/>
        <a:p>
          <a:endParaRPr lang="en-US"/>
        </a:p>
      </dgm:t>
    </dgm:pt>
    <dgm:pt modelId="{C752C985-65DB-40FF-B685-6348B46D2073}" type="sibTrans" cxnId="{42CF9554-FE00-4B01-930A-A2A1213A161E}">
      <dgm:prSet/>
      <dgm:spPr/>
      <dgm:t>
        <a:bodyPr/>
        <a:lstStyle/>
        <a:p>
          <a:endParaRPr lang="en-US"/>
        </a:p>
      </dgm:t>
    </dgm:pt>
    <dgm:pt modelId="{4F36D1E0-1517-478B-BE4B-391D927DB9BE}">
      <dgm:prSet custT="1"/>
      <dgm:spPr/>
      <dgm:t>
        <a:bodyPr/>
        <a:lstStyle/>
        <a:p>
          <a:r>
            <a:rPr lang="en-US" sz="2000" b="1" dirty="0"/>
            <a:t>4. </a:t>
          </a:r>
          <a:r>
            <a:rPr lang="en-US" sz="2000" b="1" dirty="0" err="1"/>
            <a:t>Energija</a:t>
          </a:r>
          <a:r>
            <a:rPr lang="en-US" sz="2000" b="1" dirty="0"/>
            <a:t> ide u </a:t>
          </a:r>
          <a:r>
            <a:rPr lang="en-US" sz="2000" b="1" dirty="0" err="1"/>
            <a:t>potrošnju</a:t>
          </a:r>
          <a:r>
            <a:rPr lang="en-US" sz="2000" b="1" dirty="0"/>
            <a:t> </a:t>
          </a:r>
          <a:r>
            <a:rPr lang="en-US" sz="2000" b="1" dirty="0" err="1"/>
            <a:t>ili</a:t>
          </a:r>
          <a:r>
            <a:rPr lang="en-US" sz="2000" b="1" dirty="0"/>
            <a:t> u </a:t>
          </a:r>
          <a:r>
            <a:rPr lang="en-US" sz="2000" b="1" dirty="0" err="1"/>
            <a:t>mrežu</a:t>
          </a:r>
          <a:endParaRPr lang="en-US" sz="1200" b="1" dirty="0"/>
        </a:p>
      </dgm:t>
    </dgm:pt>
    <dgm:pt modelId="{28BE0EC6-2140-4311-8AB7-71175A080D1A}" type="parTrans" cxnId="{E9F39E11-603E-4A96-8807-9E1B4896B77E}">
      <dgm:prSet/>
      <dgm:spPr/>
      <dgm:t>
        <a:bodyPr/>
        <a:lstStyle/>
        <a:p>
          <a:endParaRPr lang="en-US"/>
        </a:p>
      </dgm:t>
    </dgm:pt>
    <dgm:pt modelId="{6783AE51-3C40-4526-8C07-9AC020DCF739}" type="sibTrans" cxnId="{E9F39E11-603E-4A96-8807-9E1B4896B77E}">
      <dgm:prSet/>
      <dgm:spPr/>
      <dgm:t>
        <a:bodyPr/>
        <a:lstStyle/>
        <a:p>
          <a:endParaRPr lang="en-US"/>
        </a:p>
      </dgm:t>
    </dgm:pt>
    <dgm:pt modelId="{BD4D1882-CBE9-4915-AFD7-A795CC2A49CB}">
      <dgm:prSet custT="1"/>
      <dgm:spPr/>
      <dgm:t>
        <a:bodyPr/>
        <a:lstStyle/>
        <a:p>
          <a:pPr>
            <a:buNone/>
          </a:pPr>
          <a:r>
            <a:rPr lang="hr-HR" sz="1400" b="1" i="0" dirty="0">
              <a:effectLst/>
              <a:latin typeface="+mj-lt"/>
            </a:rPr>
            <a:t>Fotonaponske ćelije se sastoje od dva različito nabijena poluvodiča između kojih se stvara elektricitet. Zatvorimo li strujni krug, struja će poteći. </a:t>
          </a:r>
          <a:endParaRPr lang="hr-HR" sz="1400" b="1" dirty="0">
            <a:latin typeface="+mj-lt"/>
          </a:endParaRPr>
        </a:p>
      </dgm:t>
    </dgm:pt>
    <dgm:pt modelId="{D3745677-AB13-4E63-A36D-60D353E4B256}" type="parTrans" cxnId="{36540142-EBF5-4FC0-99B3-37193CFD2524}">
      <dgm:prSet/>
      <dgm:spPr/>
      <dgm:t>
        <a:bodyPr/>
        <a:lstStyle/>
        <a:p>
          <a:endParaRPr lang="hr-HR"/>
        </a:p>
      </dgm:t>
    </dgm:pt>
    <dgm:pt modelId="{C421C6A5-C1EC-4816-A2B6-014186B9EE4E}" type="sibTrans" cxnId="{36540142-EBF5-4FC0-99B3-37193CFD2524}">
      <dgm:prSet/>
      <dgm:spPr/>
      <dgm:t>
        <a:bodyPr/>
        <a:lstStyle/>
        <a:p>
          <a:endParaRPr lang="hr-HR"/>
        </a:p>
      </dgm:t>
    </dgm:pt>
    <dgm:pt modelId="{64708995-36DF-4A96-842B-CBAC26C1CDF1}" type="pres">
      <dgm:prSet presAssocID="{DD5DD60B-14C3-417F-8394-303141FF85E9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7AF054EE-4624-4A0C-BBA7-7E3A94FD3F96}" type="pres">
      <dgm:prSet presAssocID="{B88920A4-3AF6-48BD-BBEB-62248A67BC94}" presName="hierRoot1" presStyleCnt="0"/>
      <dgm:spPr/>
    </dgm:pt>
    <dgm:pt modelId="{2C94D005-8B6F-4F1D-BCD4-81F6667D211D}" type="pres">
      <dgm:prSet presAssocID="{B88920A4-3AF6-48BD-BBEB-62248A67BC94}" presName="composite" presStyleCnt="0"/>
      <dgm:spPr/>
    </dgm:pt>
    <dgm:pt modelId="{FDC02FB7-C8FC-4A0B-BB86-FBE6EB8127B3}" type="pres">
      <dgm:prSet presAssocID="{B88920A4-3AF6-48BD-BBEB-62248A67BC94}" presName="background" presStyleLbl="node0" presStyleIdx="0" presStyleCnt="3"/>
      <dgm:spPr/>
    </dgm:pt>
    <dgm:pt modelId="{D07FF5B5-00A4-4CE6-B401-840CC7CF346B}" type="pres">
      <dgm:prSet presAssocID="{B88920A4-3AF6-48BD-BBEB-62248A67BC94}" presName="text" presStyleLbl="fgAcc0" presStyleIdx="0" presStyleCnt="3">
        <dgm:presLayoutVars>
          <dgm:chPref val="3"/>
        </dgm:presLayoutVars>
      </dgm:prSet>
      <dgm:spPr/>
    </dgm:pt>
    <dgm:pt modelId="{1009B5A0-4746-4036-9427-8FCBDEAA386F}" type="pres">
      <dgm:prSet presAssocID="{B88920A4-3AF6-48BD-BBEB-62248A67BC94}" presName="hierChild2" presStyleCnt="0"/>
      <dgm:spPr/>
    </dgm:pt>
    <dgm:pt modelId="{D744733E-3619-4BA9-83DB-FE3169CC6664}" type="pres">
      <dgm:prSet presAssocID="{698F9306-F5F3-43F4-8BB7-3FBDCE3B9641}" presName="hierRoot1" presStyleCnt="0"/>
      <dgm:spPr/>
    </dgm:pt>
    <dgm:pt modelId="{8E97AEB2-0E8A-4E94-A2FE-C5C192CE5FE1}" type="pres">
      <dgm:prSet presAssocID="{698F9306-F5F3-43F4-8BB7-3FBDCE3B9641}" presName="composite" presStyleCnt="0"/>
      <dgm:spPr/>
    </dgm:pt>
    <dgm:pt modelId="{F9ECB3B6-2D08-441B-BC92-44C19E86C534}" type="pres">
      <dgm:prSet presAssocID="{698F9306-F5F3-43F4-8BB7-3FBDCE3B9641}" presName="background" presStyleLbl="node0" presStyleIdx="1" presStyleCnt="3"/>
      <dgm:spPr/>
    </dgm:pt>
    <dgm:pt modelId="{A72FE6C4-A2BE-43A1-BCC6-539590EA0A81}" type="pres">
      <dgm:prSet presAssocID="{698F9306-F5F3-43F4-8BB7-3FBDCE3B9641}" presName="text" presStyleLbl="fgAcc0" presStyleIdx="1" presStyleCnt="3">
        <dgm:presLayoutVars>
          <dgm:chPref val="3"/>
        </dgm:presLayoutVars>
      </dgm:prSet>
      <dgm:spPr/>
    </dgm:pt>
    <dgm:pt modelId="{6CDAC9B0-476D-4A76-88A4-7FF066FCD80E}" type="pres">
      <dgm:prSet presAssocID="{698F9306-F5F3-43F4-8BB7-3FBDCE3B9641}" presName="hierChild2" presStyleCnt="0"/>
      <dgm:spPr/>
    </dgm:pt>
    <dgm:pt modelId="{BBB58C9A-9889-409B-9C63-5FD73399958E}" type="pres">
      <dgm:prSet presAssocID="{647A9019-87AB-46BB-971F-2DE72449EF68}" presName="Name10" presStyleLbl="parChTrans1D2" presStyleIdx="0" presStyleCnt="3"/>
      <dgm:spPr/>
    </dgm:pt>
    <dgm:pt modelId="{B519B24B-97D9-4EAC-B83D-46050BFD1EF4}" type="pres">
      <dgm:prSet presAssocID="{14C094AF-5F19-4388-BB4B-5C2C8EA86DDE}" presName="hierRoot2" presStyleCnt="0"/>
      <dgm:spPr/>
    </dgm:pt>
    <dgm:pt modelId="{1899077D-3D9A-47D1-A272-B1D7AEB016D0}" type="pres">
      <dgm:prSet presAssocID="{14C094AF-5F19-4388-BB4B-5C2C8EA86DDE}" presName="composite2" presStyleCnt="0"/>
      <dgm:spPr/>
    </dgm:pt>
    <dgm:pt modelId="{B472A238-D016-4FF6-A8ED-8A5210FB59F0}" type="pres">
      <dgm:prSet presAssocID="{14C094AF-5F19-4388-BB4B-5C2C8EA86DDE}" presName="background2" presStyleLbl="node2" presStyleIdx="0" presStyleCnt="3"/>
      <dgm:spPr/>
    </dgm:pt>
    <dgm:pt modelId="{322F3D96-31D1-46EE-B43D-C52FFC660B6B}" type="pres">
      <dgm:prSet presAssocID="{14C094AF-5F19-4388-BB4B-5C2C8EA86DDE}" presName="text2" presStyleLbl="fgAcc2" presStyleIdx="0" presStyleCnt="3">
        <dgm:presLayoutVars>
          <dgm:chPref val="3"/>
        </dgm:presLayoutVars>
      </dgm:prSet>
      <dgm:spPr/>
    </dgm:pt>
    <dgm:pt modelId="{5E6FC626-3F40-43A4-AF4E-A6422839A964}" type="pres">
      <dgm:prSet presAssocID="{14C094AF-5F19-4388-BB4B-5C2C8EA86DDE}" presName="hierChild3" presStyleCnt="0"/>
      <dgm:spPr/>
    </dgm:pt>
    <dgm:pt modelId="{F89EABED-703E-4815-9228-8E32B7CDEE11}" type="pres">
      <dgm:prSet presAssocID="{30BC9333-BA7E-4090-9E5F-70CC9F4B87B8}" presName="Name10" presStyleLbl="parChTrans1D2" presStyleIdx="1" presStyleCnt="3"/>
      <dgm:spPr/>
    </dgm:pt>
    <dgm:pt modelId="{E564072E-C5EF-4D45-AFFF-EDDA97540427}" type="pres">
      <dgm:prSet presAssocID="{13C306D8-4126-4074-88EC-C507A421779A}" presName="hierRoot2" presStyleCnt="0"/>
      <dgm:spPr/>
    </dgm:pt>
    <dgm:pt modelId="{6837FC97-6FA5-43C3-998F-434D5B7F4D06}" type="pres">
      <dgm:prSet presAssocID="{13C306D8-4126-4074-88EC-C507A421779A}" presName="composite2" presStyleCnt="0"/>
      <dgm:spPr/>
    </dgm:pt>
    <dgm:pt modelId="{4F22A01B-B1CF-441F-9FFB-6B12178A624F}" type="pres">
      <dgm:prSet presAssocID="{13C306D8-4126-4074-88EC-C507A421779A}" presName="background2" presStyleLbl="node2" presStyleIdx="1" presStyleCnt="3"/>
      <dgm:spPr/>
    </dgm:pt>
    <dgm:pt modelId="{653D6601-079E-448E-9E5E-93B94F29512A}" type="pres">
      <dgm:prSet presAssocID="{13C306D8-4126-4074-88EC-C507A421779A}" presName="text2" presStyleLbl="fgAcc2" presStyleIdx="1" presStyleCnt="3">
        <dgm:presLayoutVars>
          <dgm:chPref val="3"/>
        </dgm:presLayoutVars>
      </dgm:prSet>
      <dgm:spPr/>
    </dgm:pt>
    <dgm:pt modelId="{7F5DC47B-BC46-48BC-B4C4-9C23AAFC827D}" type="pres">
      <dgm:prSet presAssocID="{13C306D8-4126-4074-88EC-C507A421779A}" presName="hierChild3" presStyleCnt="0"/>
      <dgm:spPr/>
    </dgm:pt>
    <dgm:pt modelId="{4F012745-F184-408A-A697-E3CFC1BE66CE}" type="pres">
      <dgm:prSet presAssocID="{28BE0EC6-2140-4311-8AB7-71175A080D1A}" presName="Name10" presStyleLbl="parChTrans1D2" presStyleIdx="2" presStyleCnt="3"/>
      <dgm:spPr/>
    </dgm:pt>
    <dgm:pt modelId="{D4CDB909-3F77-4D5D-A8CE-49DE25F4149C}" type="pres">
      <dgm:prSet presAssocID="{4F36D1E0-1517-478B-BE4B-391D927DB9BE}" presName="hierRoot2" presStyleCnt="0"/>
      <dgm:spPr/>
    </dgm:pt>
    <dgm:pt modelId="{82C35108-5C01-4955-8AA6-529E2C1DBCFE}" type="pres">
      <dgm:prSet presAssocID="{4F36D1E0-1517-478B-BE4B-391D927DB9BE}" presName="composite2" presStyleCnt="0"/>
      <dgm:spPr/>
    </dgm:pt>
    <dgm:pt modelId="{DB914785-817A-4898-9BF1-3ACDB332826E}" type="pres">
      <dgm:prSet presAssocID="{4F36D1E0-1517-478B-BE4B-391D927DB9BE}" presName="background2" presStyleLbl="node2" presStyleIdx="2" presStyleCnt="3"/>
      <dgm:spPr/>
    </dgm:pt>
    <dgm:pt modelId="{8F26DDA2-0773-439A-B764-E3E12296DE1A}" type="pres">
      <dgm:prSet presAssocID="{4F36D1E0-1517-478B-BE4B-391D927DB9BE}" presName="text2" presStyleLbl="fgAcc2" presStyleIdx="2" presStyleCnt="3">
        <dgm:presLayoutVars>
          <dgm:chPref val="3"/>
        </dgm:presLayoutVars>
      </dgm:prSet>
      <dgm:spPr/>
    </dgm:pt>
    <dgm:pt modelId="{20D3635F-E8DA-4C57-A73C-BA8BC02B6443}" type="pres">
      <dgm:prSet presAssocID="{4F36D1E0-1517-478B-BE4B-391D927DB9BE}" presName="hierChild3" presStyleCnt="0"/>
      <dgm:spPr/>
    </dgm:pt>
    <dgm:pt modelId="{4484F921-6106-436C-8002-F3B163D72911}" type="pres">
      <dgm:prSet presAssocID="{BD4D1882-CBE9-4915-AFD7-A795CC2A49CB}" presName="hierRoot1" presStyleCnt="0"/>
      <dgm:spPr/>
    </dgm:pt>
    <dgm:pt modelId="{D0317B78-4790-40D2-A3AC-2FE77CA8ED51}" type="pres">
      <dgm:prSet presAssocID="{BD4D1882-CBE9-4915-AFD7-A795CC2A49CB}" presName="composite" presStyleCnt="0"/>
      <dgm:spPr/>
    </dgm:pt>
    <dgm:pt modelId="{0D845CB0-0C48-4AD0-BD11-56E200C981F7}" type="pres">
      <dgm:prSet presAssocID="{BD4D1882-CBE9-4915-AFD7-A795CC2A49CB}" presName="background" presStyleLbl="node0" presStyleIdx="2" presStyleCnt="3"/>
      <dgm:spPr/>
    </dgm:pt>
    <dgm:pt modelId="{43BFF75F-6279-4E3F-9DDA-DD4CB8110671}" type="pres">
      <dgm:prSet presAssocID="{BD4D1882-CBE9-4915-AFD7-A795CC2A49CB}" presName="text" presStyleLbl="fgAcc0" presStyleIdx="2" presStyleCnt="3">
        <dgm:presLayoutVars>
          <dgm:chPref val="3"/>
        </dgm:presLayoutVars>
      </dgm:prSet>
      <dgm:spPr/>
    </dgm:pt>
    <dgm:pt modelId="{56027054-F1D7-426D-8057-12B5311B93A9}" type="pres">
      <dgm:prSet presAssocID="{BD4D1882-CBE9-4915-AFD7-A795CC2A49CB}" presName="hierChild2" presStyleCnt="0"/>
      <dgm:spPr/>
    </dgm:pt>
  </dgm:ptLst>
  <dgm:cxnLst>
    <dgm:cxn modelId="{E9F39E11-603E-4A96-8807-9E1B4896B77E}" srcId="{698F9306-F5F3-43F4-8BB7-3FBDCE3B9641}" destId="{4F36D1E0-1517-478B-BE4B-391D927DB9BE}" srcOrd="2" destOrd="0" parTransId="{28BE0EC6-2140-4311-8AB7-71175A080D1A}" sibTransId="{6783AE51-3C40-4526-8C07-9AC020DCF739}"/>
    <dgm:cxn modelId="{0B60D719-6999-403D-8226-F32E001884AE}" type="presOf" srcId="{B88920A4-3AF6-48BD-BBEB-62248A67BC94}" destId="{D07FF5B5-00A4-4CE6-B401-840CC7CF346B}" srcOrd="0" destOrd="0" presId="urn:microsoft.com/office/officeart/2005/8/layout/hierarchy1"/>
    <dgm:cxn modelId="{FD70E726-14D9-4CD5-BE29-F4417F9BA788}" type="presOf" srcId="{28BE0EC6-2140-4311-8AB7-71175A080D1A}" destId="{4F012745-F184-408A-A697-E3CFC1BE66CE}" srcOrd="0" destOrd="0" presId="urn:microsoft.com/office/officeart/2005/8/layout/hierarchy1"/>
    <dgm:cxn modelId="{896C3328-4E55-4C61-9859-12FF3295C61D}" type="presOf" srcId="{13C306D8-4126-4074-88EC-C507A421779A}" destId="{653D6601-079E-448E-9E5E-93B94F29512A}" srcOrd="0" destOrd="0" presId="urn:microsoft.com/office/officeart/2005/8/layout/hierarchy1"/>
    <dgm:cxn modelId="{9D669B2B-2622-4704-83E2-1B5F13F9A417}" type="presOf" srcId="{30BC9333-BA7E-4090-9E5F-70CC9F4B87B8}" destId="{F89EABED-703E-4815-9228-8E32B7CDEE11}" srcOrd="0" destOrd="0" presId="urn:microsoft.com/office/officeart/2005/8/layout/hierarchy1"/>
    <dgm:cxn modelId="{36540142-EBF5-4FC0-99B3-37193CFD2524}" srcId="{DD5DD60B-14C3-417F-8394-303141FF85E9}" destId="{BD4D1882-CBE9-4915-AFD7-A795CC2A49CB}" srcOrd="2" destOrd="0" parTransId="{D3745677-AB13-4E63-A36D-60D353E4B256}" sibTransId="{C421C6A5-C1EC-4816-A2B6-014186B9EE4E}"/>
    <dgm:cxn modelId="{4F168C44-FA25-40BD-BD4E-EF202E995884}" type="presOf" srcId="{BD4D1882-CBE9-4915-AFD7-A795CC2A49CB}" destId="{43BFF75F-6279-4E3F-9DDA-DD4CB8110671}" srcOrd="0" destOrd="0" presId="urn:microsoft.com/office/officeart/2005/8/layout/hierarchy1"/>
    <dgm:cxn modelId="{42CF9554-FE00-4B01-930A-A2A1213A161E}" srcId="{698F9306-F5F3-43F4-8BB7-3FBDCE3B9641}" destId="{13C306D8-4126-4074-88EC-C507A421779A}" srcOrd="1" destOrd="0" parTransId="{30BC9333-BA7E-4090-9E5F-70CC9F4B87B8}" sibTransId="{C752C985-65DB-40FF-B685-6348B46D2073}"/>
    <dgm:cxn modelId="{274A7B76-4673-40FD-A464-484A9E298AA8}" srcId="{DD5DD60B-14C3-417F-8394-303141FF85E9}" destId="{698F9306-F5F3-43F4-8BB7-3FBDCE3B9641}" srcOrd="1" destOrd="0" parTransId="{08C8E520-74E4-4E7F-A217-C16C737FAE22}" sibTransId="{2694CF59-1032-42F9-9748-5C2B17105B1C}"/>
    <dgm:cxn modelId="{EFB6DB59-C515-4B4F-92BB-E494FE08C046}" type="presOf" srcId="{14C094AF-5F19-4388-BB4B-5C2C8EA86DDE}" destId="{322F3D96-31D1-46EE-B43D-C52FFC660B6B}" srcOrd="0" destOrd="0" presId="urn:microsoft.com/office/officeart/2005/8/layout/hierarchy1"/>
    <dgm:cxn modelId="{571F087A-2980-4317-8C47-D9DC68AE17C3}" type="presOf" srcId="{698F9306-F5F3-43F4-8BB7-3FBDCE3B9641}" destId="{A72FE6C4-A2BE-43A1-BCC6-539590EA0A81}" srcOrd="0" destOrd="0" presId="urn:microsoft.com/office/officeart/2005/8/layout/hierarchy1"/>
    <dgm:cxn modelId="{23357E95-AC14-455A-B94B-9761E85AA813}" type="presOf" srcId="{DD5DD60B-14C3-417F-8394-303141FF85E9}" destId="{64708995-36DF-4A96-842B-CBAC26C1CDF1}" srcOrd="0" destOrd="0" presId="urn:microsoft.com/office/officeart/2005/8/layout/hierarchy1"/>
    <dgm:cxn modelId="{5A0E5B9A-75A8-49D5-9D7C-E1E2F0A36AAD}" type="presOf" srcId="{647A9019-87AB-46BB-971F-2DE72449EF68}" destId="{BBB58C9A-9889-409B-9C63-5FD73399958E}" srcOrd="0" destOrd="0" presId="urn:microsoft.com/office/officeart/2005/8/layout/hierarchy1"/>
    <dgm:cxn modelId="{8CB783A0-58F6-4EA0-AECD-0C234DAF7F69}" srcId="{DD5DD60B-14C3-417F-8394-303141FF85E9}" destId="{B88920A4-3AF6-48BD-BBEB-62248A67BC94}" srcOrd="0" destOrd="0" parTransId="{CC23473C-204F-4CDE-8B30-0A8AB8D494B2}" sibTransId="{FC68ABC6-3369-4B5F-9F25-D4BA71E5A047}"/>
    <dgm:cxn modelId="{FC17BABD-33F8-4D27-97B6-EB502ECDA266}" type="presOf" srcId="{4F36D1E0-1517-478B-BE4B-391D927DB9BE}" destId="{8F26DDA2-0773-439A-B764-E3E12296DE1A}" srcOrd="0" destOrd="0" presId="urn:microsoft.com/office/officeart/2005/8/layout/hierarchy1"/>
    <dgm:cxn modelId="{0070E3D5-6E24-4CAA-B657-58CAE7925BB2}" srcId="{698F9306-F5F3-43F4-8BB7-3FBDCE3B9641}" destId="{14C094AF-5F19-4388-BB4B-5C2C8EA86DDE}" srcOrd="0" destOrd="0" parTransId="{647A9019-87AB-46BB-971F-2DE72449EF68}" sibTransId="{0A51A004-8FF2-4D2C-9FB4-5150673E6753}"/>
    <dgm:cxn modelId="{9F45CBA7-AD80-45D1-9E8A-C0BE551B7799}" type="presParOf" srcId="{64708995-36DF-4A96-842B-CBAC26C1CDF1}" destId="{7AF054EE-4624-4A0C-BBA7-7E3A94FD3F96}" srcOrd="0" destOrd="0" presId="urn:microsoft.com/office/officeart/2005/8/layout/hierarchy1"/>
    <dgm:cxn modelId="{1E0FD1EC-C300-49E6-8CF4-79183DD5AE01}" type="presParOf" srcId="{7AF054EE-4624-4A0C-BBA7-7E3A94FD3F96}" destId="{2C94D005-8B6F-4F1D-BCD4-81F6667D211D}" srcOrd="0" destOrd="0" presId="urn:microsoft.com/office/officeart/2005/8/layout/hierarchy1"/>
    <dgm:cxn modelId="{2922C4A8-B96F-4135-97C3-9FD668245DC8}" type="presParOf" srcId="{2C94D005-8B6F-4F1D-BCD4-81F6667D211D}" destId="{FDC02FB7-C8FC-4A0B-BB86-FBE6EB8127B3}" srcOrd="0" destOrd="0" presId="urn:microsoft.com/office/officeart/2005/8/layout/hierarchy1"/>
    <dgm:cxn modelId="{AA6375DD-DAE1-4103-A1B4-42D333FCBC90}" type="presParOf" srcId="{2C94D005-8B6F-4F1D-BCD4-81F6667D211D}" destId="{D07FF5B5-00A4-4CE6-B401-840CC7CF346B}" srcOrd="1" destOrd="0" presId="urn:microsoft.com/office/officeart/2005/8/layout/hierarchy1"/>
    <dgm:cxn modelId="{5AC8795F-DA39-4B8D-9891-56D739DE2B93}" type="presParOf" srcId="{7AF054EE-4624-4A0C-BBA7-7E3A94FD3F96}" destId="{1009B5A0-4746-4036-9427-8FCBDEAA386F}" srcOrd="1" destOrd="0" presId="urn:microsoft.com/office/officeart/2005/8/layout/hierarchy1"/>
    <dgm:cxn modelId="{0306F494-988D-4306-9A94-EA8425E1E4B3}" type="presParOf" srcId="{64708995-36DF-4A96-842B-CBAC26C1CDF1}" destId="{D744733E-3619-4BA9-83DB-FE3169CC6664}" srcOrd="1" destOrd="0" presId="urn:microsoft.com/office/officeart/2005/8/layout/hierarchy1"/>
    <dgm:cxn modelId="{F8CF1F9A-C87C-49A4-A3F6-3B6A4B289819}" type="presParOf" srcId="{D744733E-3619-4BA9-83DB-FE3169CC6664}" destId="{8E97AEB2-0E8A-4E94-A2FE-C5C192CE5FE1}" srcOrd="0" destOrd="0" presId="urn:microsoft.com/office/officeart/2005/8/layout/hierarchy1"/>
    <dgm:cxn modelId="{38708B67-3368-46CE-8A80-F77AE2B2A574}" type="presParOf" srcId="{8E97AEB2-0E8A-4E94-A2FE-C5C192CE5FE1}" destId="{F9ECB3B6-2D08-441B-BC92-44C19E86C534}" srcOrd="0" destOrd="0" presId="urn:microsoft.com/office/officeart/2005/8/layout/hierarchy1"/>
    <dgm:cxn modelId="{A8E1695B-104C-45E8-830B-7D42A964672F}" type="presParOf" srcId="{8E97AEB2-0E8A-4E94-A2FE-C5C192CE5FE1}" destId="{A72FE6C4-A2BE-43A1-BCC6-539590EA0A81}" srcOrd="1" destOrd="0" presId="urn:microsoft.com/office/officeart/2005/8/layout/hierarchy1"/>
    <dgm:cxn modelId="{AEA5BA21-E228-478A-A7B3-FF69C42A9458}" type="presParOf" srcId="{D744733E-3619-4BA9-83DB-FE3169CC6664}" destId="{6CDAC9B0-476D-4A76-88A4-7FF066FCD80E}" srcOrd="1" destOrd="0" presId="urn:microsoft.com/office/officeart/2005/8/layout/hierarchy1"/>
    <dgm:cxn modelId="{4C9BEA03-412C-48C6-958F-27137ACCDCF7}" type="presParOf" srcId="{6CDAC9B0-476D-4A76-88A4-7FF066FCD80E}" destId="{BBB58C9A-9889-409B-9C63-5FD73399958E}" srcOrd="0" destOrd="0" presId="urn:microsoft.com/office/officeart/2005/8/layout/hierarchy1"/>
    <dgm:cxn modelId="{132D8D0F-8061-401C-A382-BACE9F999A4E}" type="presParOf" srcId="{6CDAC9B0-476D-4A76-88A4-7FF066FCD80E}" destId="{B519B24B-97D9-4EAC-B83D-46050BFD1EF4}" srcOrd="1" destOrd="0" presId="urn:microsoft.com/office/officeart/2005/8/layout/hierarchy1"/>
    <dgm:cxn modelId="{8FB2BCD6-201D-4338-903B-863303398889}" type="presParOf" srcId="{B519B24B-97D9-4EAC-B83D-46050BFD1EF4}" destId="{1899077D-3D9A-47D1-A272-B1D7AEB016D0}" srcOrd="0" destOrd="0" presId="urn:microsoft.com/office/officeart/2005/8/layout/hierarchy1"/>
    <dgm:cxn modelId="{FB8230CB-DC4A-42F7-B4FD-2C739DCF8784}" type="presParOf" srcId="{1899077D-3D9A-47D1-A272-B1D7AEB016D0}" destId="{B472A238-D016-4FF6-A8ED-8A5210FB59F0}" srcOrd="0" destOrd="0" presId="urn:microsoft.com/office/officeart/2005/8/layout/hierarchy1"/>
    <dgm:cxn modelId="{ABFA8672-CBA7-4356-951B-33E367A4398A}" type="presParOf" srcId="{1899077D-3D9A-47D1-A272-B1D7AEB016D0}" destId="{322F3D96-31D1-46EE-B43D-C52FFC660B6B}" srcOrd="1" destOrd="0" presId="urn:microsoft.com/office/officeart/2005/8/layout/hierarchy1"/>
    <dgm:cxn modelId="{D617D4D5-8B60-4F68-8458-D1E979B5C613}" type="presParOf" srcId="{B519B24B-97D9-4EAC-B83D-46050BFD1EF4}" destId="{5E6FC626-3F40-43A4-AF4E-A6422839A964}" srcOrd="1" destOrd="0" presId="urn:microsoft.com/office/officeart/2005/8/layout/hierarchy1"/>
    <dgm:cxn modelId="{9B76FDC4-4CFC-4DFA-809E-24556E3F54BE}" type="presParOf" srcId="{6CDAC9B0-476D-4A76-88A4-7FF066FCD80E}" destId="{F89EABED-703E-4815-9228-8E32B7CDEE11}" srcOrd="2" destOrd="0" presId="urn:microsoft.com/office/officeart/2005/8/layout/hierarchy1"/>
    <dgm:cxn modelId="{BB738DE8-0BD3-441C-9800-C2C91B75AB9C}" type="presParOf" srcId="{6CDAC9B0-476D-4A76-88A4-7FF066FCD80E}" destId="{E564072E-C5EF-4D45-AFFF-EDDA97540427}" srcOrd="3" destOrd="0" presId="urn:microsoft.com/office/officeart/2005/8/layout/hierarchy1"/>
    <dgm:cxn modelId="{65F90DFF-1F69-493E-A158-D396788EEECD}" type="presParOf" srcId="{E564072E-C5EF-4D45-AFFF-EDDA97540427}" destId="{6837FC97-6FA5-43C3-998F-434D5B7F4D06}" srcOrd="0" destOrd="0" presId="urn:microsoft.com/office/officeart/2005/8/layout/hierarchy1"/>
    <dgm:cxn modelId="{F81C5263-4B6A-456D-844D-1957EAE54E39}" type="presParOf" srcId="{6837FC97-6FA5-43C3-998F-434D5B7F4D06}" destId="{4F22A01B-B1CF-441F-9FFB-6B12178A624F}" srcOrd="0" destOrd="0" presId="urn:microsoft.com/office/officeart/2005/8/layout/hierarchy1"/>
    <dgm:cxn modelId="{1BDA8162-E948-4E84-9073-0E3B628F5EEF}" type="presParOf" srcId="{6837FC97-6FA5-43C3-998F-434D5B7F4D06}" destId="{653D6601-079E-448E-9E5E-93B94F29512A}" srcOrd="1" destOrd="0" presId="urn:microsoft.com/office/officeart/2005/8/layout/hierarchy1"/>
    <dgm:cxn modelId="{71F65A7D-EEE5-45B3-B338-D2540C78E455}" type="presParOf" srcId="{E564072E-C5EF-4D45-AFFF-EDDA97540427}" destId="{7F5DC47B-BC46-48BC-B4C4-9C23AAFC827D}" srcOrd="1" destOrd="0" presId="urn:microsoft.com/office/officeart/2005/8/layout/hierarchy1"/>
    <dgm:cxn modelId="{52C00702-EF32-4247-B39C-41977803449F}" type="presParOf" srcId="{6CDAC9B0-476D-4A76-88A4-7FF066FCD80E}" destId="{4F012745-F184-408A-A697-E3CFC1BE66CE}" srcOrd="4" destOrd="0" presId="urn:microsoft.com/office/officeart/2005/8/layout/hierarchy1"/>
    <dgm:cxn modelId="{27DDF2D0-753D-4A50-96A1-E286552D1599}" type="presParOf" srcId="{6CDAC9B0-476D-4A76-88A4-7FF066FCD80E}" destId="{D4CDB909-3F77-4D5D-A8CE-49DE25F4149C}" srcOrd="5" destOrd="0" presId="urn:microsoft.com/office/officeart/2005/8/layout/hierarchy1"/>
    <dgm:cxn modelId="{1AC9167A-0EF6-4C78-8AFB-FF692B5BFA6D}" type="presParOf" srcId="{D4CDB909-3F77-4D5D-A8CE-49DE25F4149C}" destId="{82C35108-5C01-4955-8AA6-529E2C1DBCFE}" srcOrd="0" destOrd="0" presId="urn:microsoft.com/office/officeart/2005/8/layout/hierarchy1"/>
    <dgm:cxn modelId="{11FD2F94-9451-467F-9B82-089684ABC2F2}" type="presParOf" srcId="{82C35108-5C01-4955-8AA6-529E2C1DBCFE}" destId="{DB914785-817A-4898-9BF1-3ACDB332826E}" srcOrd="0" destOrd="0" presId="urn:microsoft.com/office/officeart/2005/8/layout/hierarchy1"/>
    <dgm:cxn modelId="{424E374E-7ECF-4ACF-9DF4-30E379060059}" type="presParOf" srcId="{82C35108-5C01-4955-8AA6-529E2C1DBCFE}" destId="{8F26DDA2-0773-439A-B764-E3E12296DE1A}" srcOrd="1" destOrd="0" presId="urn:microsoft.com/office/officeart/2005/8/layout/hierarchy1"/>
    <dgm:cxn modelId="{65E3C011-64B1-40DE-88A5-30D95E26C064}" type="presParOf" srcId="{D4CDB909-3F77-4D5D-A8CE-49DE25F4149C}" destId="{20D3635F-E8DA-4C57-A73C-BA8BC02B6443}" srcOrd="1" destOrd="0" presId="urn:microsoft.com/office/officeart/2005/8/layout/hierarchy1"/>
    <dgm:cxn modelId="{33B57A8F-740D-4069-B660-3007F9BA8C27}" type="presParOf" srcId="{64708995-36DF-4A96-842B-CBAC26C1CDF1}" destId="{4484F921-6106-436C-8002-F3B163D72911}" srcOrd="2" destOrd="0" presId="urn:microsoft.com/office/officeart/2005/8/layout/hierarchy1"/>
    <dgm:cxn modelId="{DD03A81A-F591-45BB-A8E7-586B42630FA7}" type="presParOf" srcId="{4484F921-6106-436C-8002-F3B163D72911}" destId="{D0317B78-4790-40D2-A3AC-2FE77CA8ED51}" srcOrd="0" destOrd="0" presId="urn:microsoft.com/office/officeart/2005/8/layout/hierarchy1"/>
    <dgm:cxn modelId="{D2B36900-B6B7-41F0-8EF7-35055AE3FD0A}" type="presParOf" srcId="{D0317B78-4790-40D2-A3AC-2FE77CA8ED51}" destId="{0D845CB0-0C48-4AD0-BD11-56E200C981F7}" srcOrd="0" destOrd="0" presId="urn:microsoft.com/office/officeart/2005/8/layout/hierarchy1"/>
    <dgm:cxn modelId="{5A5D4365-45CF-4D0F-8735-FEB005B4DDDB}" type="presParOf" srcId="{D0317B78-4790-40D2-A3AC-2FE77CA8ED51}" destId="{43BFF75F-6279-4E3F-9DDA-DD4CB8110671}" srcOrd="1" destOrd="0" presId="urn:microsoft.com/office/officeart/2005/8/layout/hierarchy1"/>
    <dgm:cxn modelId="{039A49DB-45F9-4E08-A5C1-48D926CE76C2}" type="presParOf" srcId="{4484F921-6106-436C-8002-F3B163D72911}" destId="{56027054-F1D7-426D-8057-12B5311B93A9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4364F148-E4CB-4F91-BC9A-C9BF331CB33E}" type="doc">
      <dgm:prSet loTypeId="urn:microsoft.com/office/officeart/2005/8/layout/hierarchy1" loCatId="hierarchy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FB729E53-072B-490C-9EC4-0B04039A8280}">
      <dgm:prSet/>
      <dgm:spPr/>
      <dgm:t>
        <a:bodyPr/>
        <a:lstStyle/>
        <a:p>
          <a:r>
            <a:rPr lang="en-US" dirty="0" err="1"/>
            <a:t>Fotonaponske</a:t>
          </a:r>
          <a:r>
            <a:rPr lang="en-US" dirty="0"/>
            <a:t> (PV): </a:t>
          </a:r>
          <a:r>
            <a:rPr lang="en-US" dirty="0" err="1"/>
            <a:t>Izravna</a:t>
          </a:r>
          <a:r>
            <a:rPr lang="en-US" dirty="0"/>
            <a:t> </a:t>
          </a:r>
          <a:r>
            <a:rPr lang="en-US" dirty="0" err="1"/>
            <a:t>proizvodnja</a:t>
          </a:r>
          <a:r>
            <a:rPr lang="en-US" dirty="0"/>
            <a:t> </a:t>
          </a:r>
          <a:r>
            <a:rPr lang="en-US" dirty="0" err="1"/>
            <a:t>struje</a:t>
          </a:r>
          <a:r>
            <a:rPr lang="en-US" dirty="0"/>
            <a:t>.</a:t>
          </a:r>
        </a:p>
      </dgm:t>
    </dgm:pt>
    <dgm:pt modelId="{85B724E2-0A8F-4235-868C-045582061176}" type="parTrans" cxnId="{233593B9-1D96-47D0-B1EF-C6DB8717ACE0}">
      <dgm:prSet/>
      <dgm:spPr/>
      <dgm:t>
        <a:bodyPr/>
        <a:lstStyle/>
        <a:p>
          <a:endParaRPr lang="en-US"/>
        </a:p>
      </dgm:t>
    </dgm:pt>
    <dgm:pt modelId="{AB054245-242A-489C-908C-456238F43C20}" type="sibTrans" cxnId="{233593B9-1D96-47D0-B1EF-C6DB8717ACE0}">
      <dgm:prSet/>
      <dgm:spPr/>
      <dgm:t>
        <a:bodyPr/>
        <a:lstStyle/>
        <a:p>
          <a:endParaRPr lang="en-US"/>
        </a:p>
      </dgm:t>
    </dgm:pt>
    <dgm:pt modelId="{35AA9576-5926-43A0-974F-B6493AC4A48B}">
      <dgm:prSet/>
      <dgm:spPr/>
      <dgm:t>
        <a:bodyPr/>
        <a:lstStyle/>
        <a:p>
          <a:r>
            <a:rPr lang="en-US" dirty="0" err="1"/>
            <a:t>Solarne</a:t>
          </a:r>
          <a:r>
            <a:rPr lang="en-US" dirty="0"/>
            <a:t> </a:t>
          </a:r>
          <a:r>
            <a:rPr lang="en-US" dirty="0" err="1"/>
            <a:t>termalne</a:t>
          </a:r>
          <a:r>
            <a:rPr lang="en-US" dirty="0"/>
            <a:t>: </a:t>
          </a:r>
          <a:r>
            <a:rPr lang="en-US" dirty="0" err="1"/>
            <a:t>Koriste</a:t>
          </a:r>
          <a:r>
            <a:rPr lang="en-US" dirty="0"/>
            <a:t> </a:t>
          </a:r>
          <a:r>
            <a:rPr lang="en-US" dirty="0" err="1"/>
            <a:t>toplinu</a:t>
          </a:r>
          <a:r>
            <a:rPr lang="en-US" dirty="0"/>
            <a:t> za </a:t>
          </a:r>
          <a:r>
            <a:rPr lang="en-US" dirty="0" err="1"/>
            <a:t>stvaranje</a:t>
          </a:r>
          <a:r>
            <a:rPr lang="en-US" dirty="0"/>
            <a:t> pare </a:t>
          </a:r>
          <a:r>
            <a:rPr lang="en-US" dirty="0" err="1"/>
            <a:t>i</a:t>
          </a:r>
          <a:r>
            <a:rPr lang="en-US" dirty="0"/>
            <a:t> </a:t>
          </a:r>
          <a:r>
            <a:rPr lang="en-US" dirty="0" err="1"/>
            <a:t>pogon</a:t>
          </a:r>
          <a:r>
            <a:rPr lang="en-US" dirty="0"/>
            <a:t> </a:t>
          </a:r>
          <a:r>
            <a:rPr lang="en-US" dirty="0" err="1"/>
            <a:t>turbina</a:t>
          </a:r>
          <a:r>
            <a:rPr lang="en-US" dirty="0"/>
            <a:t>.</a:t>
          </a:r>
        </a:p>
      </dgm:t>
    </dgm:pt>
    <dgm:pt modelId="{82404D4E-8E36-4B9A-8F21-2438370D9F80}" type="parTrans" cxnId="{0855E9CA-0D7D-4432-A212-CDE7E5985901}">
      <dgm:prSet/>
      <dgm:spPr/>
      <dgm:t>
        <a:bodyPr/>
        <a:lstStyle/>
        <a:p>
          <a:endParaRPr lang="en-US"/>
        </a:p>
      </dgm:t>
    </dgm:pt>
    <dgm:pt modelId="{8B1B452E-C15B-4B07-BB2B-EE5D3B4C3992}" type="sibTrans" cxnId="{0855E9CA-0D7D-4432-A212-CDE7E5985901}">
      <dgm:prSet/>
      <dgm:spPr/>
      <dgm:t>
        <a:bodyPr/>
        <a:lstStyle/>
        <a:p>
          <a:endParaRPr lang="en-US"/>
        </a:p>
      </dgm:t>
    </dgm:pt>
    <dgm:pt modelId="{6DFF200F-42A7-409C-A5A0-D12B5E4C2875}" type="pres">
      <dgm:prSet presAssocID="{4364F148-E4CB-4F91-BC9A-C9BF331CB33E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8D3130A8-5025-487C-81B4-9318552A674D}" type="pres">
      <dgm:prSet presAssocID="{FB729E53-072B-490C-9EC4-0B04039A8280}" presName="hierRoot1" presStyleCnt="0"/>
      <dgm:spPr/>
    </dgm:pt>
    <dgm:pt modelId="{4DE12DDB-8F0D-489E-8E75-425023B48795}" type="pres">
      <dgm:prSet presAssocID="{FB729E53-072B-490C-9EC4-0B04039A8280}" presName="composite" presStyleCnt="0"/>
      <dgm:spPr/>
    </dgm:pt>
    <dgm:pt modelId="{EEE1C86A-27E4-4EA9-B02B-657B344DF553}" type="pres">
      <dgm:prSet presAssocID="{FB729E53-072B-490C-9EC4-0B04039A8280}" presName="background" presStyleLbl="node0" presStyleIdx="0" presStyleCnt="2"/>
      <dgm:spPr/>
    </dgm:pt>
    <dgm:pt modelId="{4099B133-E108-4E09-B828-D1FEDF68E1CD}" type="pres">
      <dgm:prSet presAssocID="{FB729E53-072B-490C-9EC4-0B04039A8280}" presName="text" presStyleLbl="fgAcc0" presStyleIdx="0" presStyleCnt="2">
        <dgm:presLayoutVars>
          <dgm:chPref val="3"/>
        </dgm:presLayoutVars>
      </dgm:prSet>
      <dgm:spPr/>
    </dgm:pt>
    <dgm:pt modelId="{E93F154B-229E-435F-A0F3-8E56654D0E9D}" type="pres">
      <dgm:prSet presAssocID="{FB729E53-072B-490C-9EC4-0B04039A8280}" presName="hierChild2" presStyleCnt="0"/>
      <dgm:spPr/>
    </dgm:pt>
    <dgm:pt modelId="{DE43E460-E3E6-48C7-8652-BAE85F1E427F}" type="pres">
      <dgm:prSet presAssocID="{35AA9576-5926-43A0-974F-B6493AC4A48B}" presName="hierRoot1" presStyleCnt="0"/>
      <dgm:spPr/>
    </dgm:pt>
    <dgm:pt modelId="{1A87773F-8D96-4899-A239-6CF7BAA58077}" type="pres">
      <dgm:prSet presAssocID="{35AA9576-5926-43A0-974F-B6493AC4A48B}" presName="composite" presStyleCnt="0"/>
      <dgm:spPr/>
    </dgm:pt>
    <dgm:pt modelId="{6E574FDB-3B32-49E8-A41E-FC92252DBB18}" type="pres">
      <dgm:prSet presAssocID="{35AA9576-5926-43A0-974F-B6493AC4A48B}" presName="background" presStyleLbl="node0" presStyleIdx="1" presStyleCnt="2"/>
      <dgm:spPr/>
    </dgm:pt>
    <dgm:pt modelId="{298B5F23-81A2-403C-98C3-EC750CAFA325}" type="pres">
      <dgm:prSet presAssocID="{35AA9576-5926-43A0-974F-B6493AC4A48B}" presName="text" presStyleLbl="fgAcc0" presStyleIdx="1" presStyleCnt="2">
        <dgm:presLayoutVars>
          <dgm:chPref val="3"/>
        </dgm:presLayoutVars>
      </dgm:prSet>
      <dgm:spPr/>
    </dgm:pt>
    <dgm:pt modelId="{F9CB702D-9A49-4CBE-BC78-01AFE26681BA}" type="pres">
      <dgm:prSet presAssocID="{35AA9576-5926-43A0-974F-B6493AC4A48B}" presName="hierChild2" presStyleCnt="0"/>
      <dgm:spPr/>
    </dgm:pt>
  </dgm:ptLst>
  <dgm:cxnLst>
    <dgm:cxn modelId="{46EB1B50-CC25-4C26-B00B-FE5B76E77EE7}" type="presOf" srcId="{FB729E53-072B-490C-9EC4-0B04039A8280}" destId="{4099B133-E108-4E09-B828-D1FEDF68E1CD}" srcOrd="0" destOrd="0" presId="urn:microsoft.com/office/officeart/2005/8/layout/hierarchy1"/>
    <dgm:cxn modelId="{233593B9-1D96-47D0-B1EF-C6DB8717ACE0}" srcId="{4364F148-E4CB-4F91-BC9A-C9BF331CB33E}" destId="{FB729E53-072B-490C-9EC4-0B04039A8280}" srcOrd="0" destOrd="0" parTransId="{85B724E2-0A8F-4235-868C-045582061176}" sibTransId="{AB054245-242A-489C-908C-456238F43C20}"/>
    <dgm:cxn modelId="{0855E9CA-0D7D-4432-A212-CDE7E5985901}" srcId="{4364F148-E4CB-4F91-BC9A-C9BF331CB33E}" destId="{35AA9576-5926-43A0-974F-B6493AC4A48B}" srcOrd="1" destOrd="0" parTransId="{82404D4E-8E36-4B9A-8F21-2438370D9F80}" sibTransId="{8B1B452E-C15B-4B07-BB2B-EE5D3B4C3992}"/>
    <dgm:cxn modelId="{A86CB3EB-B9BC-47D6-95A4-A5B2C71596C7}" type="presOf" srcId="{35AA9576-5926-43A0-974F-B6493AC4A48B}" destId="{298B5F23-81A2-403C-98C3-EC750CAFA325}" srcOrd="0" destOrd="0" presId="urn:microsoft.com/office/officeart/2005/8/layout/hierarchy1"/>
    <dgm:cxn modelId="{0D7C14F6-3AA2-47C3-9727-226CDADEA5F8}" type="presOf" srcId="{4364F148-E4CB-4F91-BC9A-C9BF331CB33E}" destId="{6DFF200F-42A7-409C-A5A0-D12B5E4C2875}" srcOrd="0" destOrd="0" presId="urn:microsoft.com/office/officeart/2005/8/layout/hierarchy1"/>
    <dgm:cxn modelId="{2C54E653-DD39-4B19-B837-65CBF6E7906D}" type="presParOf" srcId="{6DFF200F-42A7-409C-A5A0-D12B5E4C2875}" destId="{8D3130A8-5025-487C-81B4-9318552A674D}" srcOrd="0" destOrd="0" presId="urn:microsoft.com/office/officeart/2005/8/layout/hierarchy1"/>
    <dgm:cxn modelId="{914D81C4-E695-4C93-8B32-E932D42D8FD2}" type="presParOf" srcId="{8D3130A8-5025-487C-81B4-9318552A674D}" destId="{4DE12DDB-8F0D-489E-8E75-425023B48795}" srcOrd="0" destOrd="0" presId="urn:microsoft.com/office/officeart/2005/8/layout/hierarchy1"/>
    <dgm:cxn modelId="{C28E0491-FEF8-42AD-8C4C-5CD591CACC1D}" type="presParOf" srcId="{4DE12DDB-8F0D-489E-8E75-425023B48795}" destId="{EEE1C86A-27E4-4EA9-B02B-657B344DF553}" srcOrd="0" destOrd="0" presId="urn:microsoft.com/office/officeart/2005/8/layout/hierarchy1"/>
    <dgm:cxn modelId="{44C816FB-4D40-4EB4-8BF0-D1842D4F275D}" type="presParOf" srcId="{4DE12DDB-8F0D-489E-8E75-425023B48795}" destId="{4099B133-E108-4E09-B828-D1FEDF68E1CD}" srcOrd="1" destOrd="0" presId="urn:microsoft.com/office/officeart/2005/8/layout/hierarchy1"/>
    <dgm:cxn modelId="{499B67D7-DA4C-4A45-8C01-65272C287926}" type="presParOf" srcId="{8D3130A8-5025-487C-81B4-9318552A674D}" destId="{E93F154B-229E-435F-A0F3-8E56654D0E9D}" srcOrd="1" destOrd="0" presId="urn:microsoft.com/office/officeart/2005/8/layout/hierarchy1"/>
    <dgm:cxn modelId="{0BCE1C1F-79E2-4820-8122-E439EBDA8B10}" type="presParOf" srcId="{6DFF200F-42A7-409C-A5A0-D12B5E4C2875}" destId="{DE43E460-E3E6-48C7-8652-BAE85F1E427F}" srcOrd="1" destOrd="0" presId="urn:microsoft.com/office/officeart/2005/8/layout/hierarchy1"/>
    <dgm:cxn modelId="{89371C48-73EC-4F42-BB08-950BCF39FABF}" type="presParOf" srcId="{DE43E460-E3E6-48C7-8652-BAE85F1E427F}" destId="{1A87773F-8D96-4899-A239-6CF7BAA58077}" srcOrd="0" destOrd="0" presId="urn:microsoft.com/office/officeart/2005/8/layout/hierarchy1"/>
    <dgm:cxn modelId="{7EE54C6C-9003-4BD3-9FA6-4C21EAB36993}" type="presParOf" srcId="{1A87773F-8D96-4899-A239-6CF7BAA58077}" destId="{6E574FDB-3B32-49E8-A41E-FC92252DBB18}" srcOrd="0" destOrd="0" presId="urn:microsoft.com/office/officeart/2005/8/layout/hierarchy1"/>
    <dgm:cxn modelId="{851A8B20-6485-40A1-B33E-13238713C036}" type="presParOf" srcId="{1A87773F-8D96-4899-A239-6CF7BAA58077}" destId="{298B5F23-81A2-403C-98C3-EC750CAFA325}" srcOrd="1" destOrd="0" presId="urn:microsoft.com/office/officeart/2005/8/layout/hierarchy1"/>
    <dgm:cxn modelId="{3B71A7E4-3310-426D-AC35-8513B66B3B8C}" type="presParOf" srcId="{DE43E460-E3E6-48C7-8652-BAE85F1E427F}" destId="{F9CB702D-9A49-4CBE-BC78-01AFE26681BA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568DA984-DE91-4372-A04F-5A9C5E5E8CAD}" type="doc">
      <dgm:prSet loTypeId="urn:microsoft.com/office/officeart/2005/8/layout/vList2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EFFDBF30-459D-4401-883B-5C8AF5AC69F3}">
      <dgm:prSet/>
      <dgm:spPr/>
      <dgm:t>
        <a:bodyPr/>
        <a:lstStyle/>
        <a:p>
          <a:r>
            <a:rPr lang="en-US" dirty="0" err="1"/>
            <a:t>Održiv</a:t>
          </a:r>
          <a:r>
            <a:rPr lang="en-US" dirty="0"/>
            <a:t> </a:t>
          </a:r>
          <a:r>
            <a:rPr lang="en-US" dirty="0" err="1"/>
            <a:t>i</a:t>
          </a:r>
          <a:r>
            <a:rPr lang="en-US" dirty="0"/>
            <a:t> </a:t>
          </a:r>
          <a:r>
            <a:rPr lang="en-US" dirty="0" err="1"/>
            <a:t>čist</a:t>
          </a:r>
          <a:r>
            <a:rPr lang="en-US" dirty="0"/>
            <a:t> </a:t>
          </a:r>
          <a:r>
            <a:rPr lang="en-US" dirty="0" err="1"/>
            <a:t>izvor</a:t>
          </a:r>
          <a:r>
            <a:rPr lang="en-US" dirty="0"/>
            <a:t> </a:t>
          </a:r>
          <a:r>
            <a:rPr lang="en-US" dirty="0" err="1"/>
            <a:t>energije</a:t>
          </a:r>
          <a:endParaRPr lang="en-US" dirty="0"/>
        </a:p>
      </dgm:t>
    </dgm:pt>
    <dgm:pt modelId="{F8A6C1E2-6FD6-46B5-B5C9-29D034A1AD2C}" type="parTrans" cxnId="{DDD90E31-A18D-49BE-BB68-3B910FD87AF8}">
      <dgm:prSet/>
      <dgm:spPr/>
      <dgm:t>
        <a:bodyPr/>
        <a:lstStyle/>
        <a:p>
          <a:endParaRPr lang="en-US"/>
        </a:p>
      </dgm:t>
    </dgm:pt>
    <dgm:pt modelId="{4403CAA1-93F9-42FA-B0E1-5B1D6CFE006D}" type="sibTrans" cxnId="{DDD90E31-A18D-49BE-BB68-3B910FD87AF8}">
      <dgm:prSet/>
      <dgm:spPr/>
      <dgm:t>
        <a:bodyPr/>
        <a:lstStyle/>
        <a:p>
          <a:endParaRPr lang="en-US"/>
        </a:p>
      </dgm:t>
    </dgm:pt>
    <dgm:pt modelId="{9435CC9B-F161-44F6-94F0-A8590B22224F}">
      <dgm:prSet/>
      <dgm:spPr/>
      <dgm:t>
        <a:bodyPr/>
        <a:lstStyle/>
        <a:p>
          <a:r>
            <a:rPr lang="en-US" dirty="0" err="1"/>
            <a:t>Dugoročna</a:t>
          </a:r>
          <a:r>
            <a:rPr lang="en-US" dirty="0"/>
            <a:t> </a:t>
          </a:r>
          <a:r>
            <a:rPr lang="en-US" dirty="0" err="1"/>
            <a:t>ušteda</a:t>
          </a:r>
          <a:r>
            <a:rPr lang="en-US" dirty="0"/>
            <a:t> </a:t>
          </a:r>
          <a:r>
            <a:rPr lang="en-US" dirty="0" err="1"/>
            <a:t>na</a:t>
          </a:r>
          <a:r>
            <a:rPr lang="en-US" dirty="0"/>
            <a:t> </a:t>
          </a:r>
          <a:r>
            <a:rPr lang="en-US" dirty="0" err="1"/>
            <a:t>troškovima</a:t>
          </a:r>
          <a:endParaRPr lang="en-US" dirty="0"/>
        </a:p>
      </dgm:t>
    </dgm:pt>
    <dgm:pt modelId="{6B75C0E0-FE57-4CE5-A735-0E4E2A0C15CF}" type="parTrans" cxnId="{332C9EE2-330F-4230-9C83-21925BE44876}">
      <dgm:prSet/>
      <dgm:spPr/>
      <dgm:t>
        <a:bodyPr/>
        <a:lstStyle/>
        <a:p>
          <a:endParaRPr lang="en-US"/>
        </a:p>
      </dgm:t>
    </dgm:pt>
    <dgm:pt modelId="{472DC7C5-2698-4A06-A803-6462D9CFB35F}" type="sibTrans" cxnId="{332C9EE2-330F-4230-9C83-21925BE44876}">
      <dgm:prSet/>
      <dgm:spPr/>
      <dgm:t>
        <a:bodyPr/>
        <a:lstStyle/>
        <a:p>
          <a:endParaRPr lang="en-US"/>
        </a:p>
      </dgm:t>
    </dgm:pt>
    <dgm:pt modelId="{8F01F451-B15A-4597-86F2-FE37550481A0}">
      <dgm:prSet/>
      <dgm:spPr/>
      <dgm:t>
        <a:bodyPr/>
        <a:lstStyle/>
        <a:p>
          <a:r>
            <a:rPr lang="en-US" dirty="0"/>
            <a:t>Dugi </a:t>
          </a:r>
          <a:r>
            <a:rPr lang="en-US" dirty="0" err="1"/>
            <a:t>vijek</a:t>
          </a:r>
          <a:r>
            <a:rPr lang="en-US" dirty="0"/>
            <a:t> </a:t>
          </a:r>
          <a:r>
            <a:rPr lang="en-US" dirty="0" err="1"/>
            <a:t>trajanja</a:t>
          </a:r>
          <a:r>
            <a:rPr lang="en-US" dirty="0"/>
            <a:t> (25-30 </a:t>
          </a:r>
          <a:r>
            <a:rPr lang="en-US" dirty="0" err="1"/>
            <a:t>godina</a:t>
          </a:r>
          <a:r>
            <a:rPr lang="en-US" dirty="0"/>
            <a:t>)</a:t>
          </a:r>
        </a:p>
      </dgm:t>
    </dgm:pt>
    <dgm:pt modelId="{B2761ECA-B9D7-4D0E-83A3-A64CC00DD5F3}" type="parTrans" cxnId="{5F050AE7-5A5C-40F8-869F-0D539E746786}">
      <dgm:prSet/>
      <dgm:spPr/>
      <dgm:t>
        <a:bodyPr/>
        <a:lstStyle/>
        <a:p>
          <a:endParaRPr lang="en-US"/>
        </a:p>
      </dgm:t>
    </dgm:pt>
    <dgm:pt modelId="{2D2CC64C-BA55-46BF-A8AA-AEC3D85C9137}" type="sibTrans" cxnId="{5F050AE7-5A5C-40F8-869F-0D539E746786}">
      <dgm:prSet/>
      <dgm:spPr/>
      <dgm:t>
        <a:bodyPr/>
        <a:lstStyle/>
        <a:p>
          <a:endParaRPr lang="en-US"/>
        </a:p>
      </dgm:t>
    </dgm:pt>
    <dgm:pt modelId="{6057B32F-2604-4E04-AD0F-0C139F13BE8F}">
      <dgm:prSet/>
      <dgm:spPr/>
      <dgm:t>
        <a:bodyPr/>
        <a:lstStyle/>
        <a:p>
          <a:r>
            <a:rPr lang="en-US" dirty="0" err="1"/>
            <a:t>Smanjena</a:t>
          </a:r>
          <a:r>
            <a:rPr lang="en-US" dirty="0"/>
            <a:t> </a:t>
          </a:r>
          <a:r>
            <a:rPr lang="en-US" dirty="0" err="1"/>
            <a:t>ovisnost</a:t>
          </a:r>
          <a:r>
            <a:rPr lang="en-US" dirty="0"/>
            <a:t> o </a:t>
          </a:r>
          <a:r>
            <a:rPr lang="en-US" dirty="0" err="1"/>
            <a:t>fosilnim</a:t>
          </a:r>
          <a:r>
            <a:rPr lang="en-US" dirty="0"/>
            <a:t> </a:t>
          </a:r>
          <a:r>
            <a:rPr lang="en-US" dirty="0" err="1"/>
            <a:t>gorivima</a:t>
          </a:r>
          <a:endParaRPr lang="en-US" dirty="0"/>
        </a:p>
      </dgm:t>
    </dgm:pt>
    <dgm:pt modelId="{EEEBDE45-2AD7-4189-A8DB-DA234DC0F807}" type="parTrans" cxnId="{E639B0C1-103C-4EB0-9FB3-3FD0F6387E89}">
      <dgm:prSet/>
      <dgm:spPr/>
      <dgm:t>
        <a:bodyPr/>
        <a:lstStyle/>
        <a:p>
          <a:endParaRPr lang="en-US"/>
        </a:p>
      </dgm:t>
    </dgm:pt>
    <dgm:pt modelId="{3161995F-6C1D-408B-B6F6-7E8D1A42685E}" type="sibTrans" cxnId="{E639B0C1-103C-4EB0-9FB3-3FD0F6387E89}">
      <dgm:prSet/>
      <dgm:spPr/>
      <dgm:t>
        <a:bodyPr/>
        <a:lstStyle/>
        <a:p>
          <a:endParaRPr lang="en-US"/>
        </a:p>
      </dgm:t>
    </dgm:pt>
    <dgm:pt modelId="{074897C6-3944-4A57-9EDB-D9F715A5D967}" type="pres">
      <dgm:prSet presAssocID="{568DA984-DE91-4372-A04F-5A9C5E5E8CAD}" presName="linear" presStyleCnt="0">
        <dgm:presLayoutVars>
          <dgm:animLvl val="lvl"/>
          <dgm:resizeHandles val="exact"/>
        </dgm:presLayoutVars>
      </dgm:prSet>
      <dgm:spPr/>
    </dgm:pt>
    <dgm:pt modelId="{B702294F-3920-4CA8-B959-EC5B115E66A3}" type="pres">
      <dgm:prSet presAssocID="{EFFDBF30-459D-4401-883B-5C8AF5AC69F3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4269D73C-231B-45C1-924C-B5BFCF3DB0DD}" type="pres">
      <dgm:prSet presAssocID="{4403CAA1-93F9-42FA-B0E1-5B1D6CFE006D}" presName="spacer" presStyleCnt="0"/>
      <dgm:spPr/>
    </dgm:pt>
    <dgm:pt modelId="{B82F36A0-5B49-4835-9769-6A1E91FD8516}" type="pres">
      <dgm:prSet presAssocID="{9435CC9B-F161-44F6-94F0-A8590B22224F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5B18D232-D4EB-4AF6-84A7-89E92424053A}" type="pres">
      <dgm:prSet presAssocID="{472DC7C5-2698-4A06-A803-6462D9CFB35F}" presName="spacer" presStyleCnt="0"/>
      <dgm:spPr/>
    </dgm:pt>
    <dgm:pt modelId="{18A7B97B-294A-4931-987B-84AA47D85774}" type="pres">
      <dgm:prSet presAssocID="{8F01F451-B15A-4597-86F2-FE37550481A0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AC20F1AF-24C6-47BE-943B-A1BDD42ADC57}" type="pres">
      <dgm:prSet presAssocID="{2D2CC64C-BA55-46BF-A8AA-AEC3D85C9137}" presName="spacer" presStyleCnt="0"/>
      <dgm:spPr/>
    </dgm:pt>
    <dgm:pt modelId="{5A8A46F5-35AE-4DC0-A018-1924E73F7142}" type="pres">
      <dgm:prSet presAssocID="{6057B32F-2604-4E04-AD0F-0C139F13BE8F}" presName="parentText" presStyleLbl="node1" presStyleIdx="3" presStyleCnt="4">
        <dgm:presLayoutVars>
          <dgm:chMax val="0"/>
          <dgm:bulletEnabled val="1"/>
        </dgm:presLayoutVars>
      </dgm:prSet>
      <dgm:spPr/>
    </dgm:pt>
  </dgm:ptLst>
  <dgm:cxnLst>
    <dgm:cxn modelId="{D76FDD0B-06BC-4B67-833B-DC86024F5C11}" type="presOf" srcId="{568DA984-DE91-4372-A04F-5A9C5E5E8CAD}" destId="{074897C6-3944-4A57-9EDB-D9F715A5D967}" srcOrd="0" destOrd="0" presId="urn:microsoft.com/office/officeart/2005/8/layout/vList2"/>
    <dgm:cxn modelId="{0AB1150E-A78C-40AD-BA32-4F81104D0F60}" type="presOf" srcId="{9435CC9B-F161-44F6-94F0-A8590B22224F}" destId="{B82F36A0-5B49-4835-9769-6A1E91FD8516}" srcOrd="0" destOrd="0" presId="urn:microsoft.com/office/officeart/2005/8/layout/vList2"/>
    <dgm:cxn modelId="{3FABA70F-A894-4CDD-9D37-FFDF95F878CC}" type="presOf" srcId="{6057B32F-2604-4E04-AD0F-0C139F13BE8F}" destId="{5A8A46F5-35AE-4DC0-A018-1924E73F7142}" srcOrd="0" destOrd="0" presId="urn:microsoft.com/office/officeart/2005/8/layout/vList2"/>
    <dgm:cxn modelId="{DDD90E31-A18D-49BE-BB68-3B910FD87AF8}" srcId="{568DA984-DE91-4372-A04F-5A9C5E5E8CAD}" destId="{EFFDBF30-459D-4401-883B-5C8AF5AC69F3}" srcOrd="0" destOrd="0" parTransId="{F8A6C1E2-6FD6-46B5-B5C9-29D034A1AD2C}" sibTransId="{4403CAA1-93F9-42FA-B0E1-5B1D6CFE006D}"/>
    <dgm:cxn modelId="{E639B0C1-103C-4EB0-9FB3-3FD0F6387E89}" srcId="{568DA984-DE91-4372-A04F-5A9C5E5E8CAD}" destId="{6057B32F-2604-4E04-AD0F-0C139F13BE8F}" srcOrd="3" destOrd="0" parTransId="{EEEBDE45-2AD7-4189-A8DB-DA234DC0F807}" sibTransId="{3161995F-6C1D-408B-B6F6-7E8D1A42685E}"/>
    <dgm:cxn modelId="{332C9EE2-330F-4230-9C83-21925BE44876}" srcId="{568DA984-DE91-4372-A04F-5A9C5E5E8CAD}" destId="{9435CC9B-F161-44F6-94F0-A8590B22224F}" srcOrd="1" destOrd="0" parTransId="{6B75C0E0-FE57-4CE5-A735-0E4E2A0C15CF}" sibTransId="{472DC7C5-2698-4A06-A803-6462D9CFB35F}"/>
    <dgm:cxn modelId="{464F5FE4-9FAA-4567-99C3-DE899B9FBB43}" type="presOf" srcId="{EFFDBF30-459D-4401-883B-5C8AF5AC69F3}" destId="{B702294F-3920-4CA8-B959-EC5B115E66A3}" srcOrd="0" destOrd="0" presId="urn:microsoft.com/office/officeart/2005/8/layout/vList2"/>
    <dgm:cxn modelId="{4FE9B2E6-FE70-4BEB-B02F-F898603FDD8E}" type="presOf" srcId="{8F01F451-B15A-4597-86F2-FE37550481A0}" destId="{18A7B97B-294A-4931-987B-84AA47D85774}" srcOrd="0" destOrd="0" presId="urn:microsoft.com/office/officeart/2005/8/layout/vList2"/>
    <dgm:cxn modelId="{5F050AE7-5A5C-40F8-869F-0D539E746786}" srcId="{568DA984-DE91-4372-A04F-5A9C5E5E8CAD}" destId="{8F01F451-B15A-4597-86F2-FE37550481A0}" srcOrd="2" destOrd="0" parTransId="{B2761ECA-B9D7-4D0E-83A3-A64CC00DD5F3}" sibTransId="{2D2CC64C-BA55-46BF-A8AA-AEC3D85C9137}"/>
    <dgm:cxn modelId="{78685974-862B-41D6-8B02-B13E55A9B4AC}" type="presParOf" srcId="{074897C6-3944-4A57-9EDB-D9F715A5D967}" destId="{B702294F-3920-4CA8-B959-EC5B115E66A3}" srcOrd="0" destOrd="0" presId="urn:microsoft.com/office/officeart/2005/8/layout/vList2"/>
    <dgm:cxn modelId="{252B92D9-B458-4CEF-86ED-A9DA64B902CC}" type="presParOf" srcId="{074897C6-3944-4A57-9EDB-D9F715A5D967}" destId="{4269D73C-231B-45C1-924C-B5BFCF3DB0DD}" srcOrd="1" destOrd="0" presId="urn:microsoft.com/office/officeart/2005/8/layout/vList2"/>
    <dgm:cxn modelId="{E2697FF8-89A4-40D1-9FF9-3C384C5028E3}" type="presParOf" srcId="{074897C6-3944-4A57-9EDB-D9F715A5D967}" destId="{B82F36A0-5B49-4835-9769-6A1E91FD8516}" srcOrd="2" destOrd="0" presId="urn:microsoft.com/office/officeart/2005/8/layout/vList2"/>
    <dgm:cxn modelId="{BBDBC7DD-C088-4665-B05B-E929150E8406}" type="presParOf" srcId="{074897C6-3944-4A57-9EDB-D9F715A5D967}" destId="{5B18D232-D4EB-4AF6-84A7-89E92424053A}" srcOrd="3" destOrd="0" presId="urn:microsoft.com/office/officeart/2005/8/layout/vList2"/>
    <dgm:cxn modelId="{D29F9EDD-63F8-41FC-A1FD-C1EF919AD334}" type="presParOf" srcId="{074897C6-3944-4A57-9EDB-D9F715A5D967}" destId="{18A7B97B-294A-4931-987B-84AA47D85774}" srcOrd="4" destOrd="0" presId="urn:microsoft.com/office/officeart/2005/8/layout/vList2"/>
    <dgm:cxn modelId="{73211DB8-FD8A-4C60-81CE-8D6E43C8AA3C}" type="presParOf" srcId="{074897C6-3944-4A57-9EDB-D9F715A5D967}" destId="{AC20F1AF-24C6-47BE-943B-A1BDD42ADC57}" srcOrd="5" destOrd="0" presId="urn:microsoft.com/office/officeart/2005/8/layout/vList2"/>
    <dgm:cxn modelId="{0B3CE871-6D97-422F-A986-EA2196B2C514}" type="presParOf" srcId="{074897C6-3944-4A57-9EDB-D9F715A5D967}" destId="{5A8A46F5-35AE-4DC0-A018-1924E73F7142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0E17B55F-8684-4B8F-8834-7B67F99F77F7}" type="doc">
      <dgm:prSet loTypeId="urn:microsoft.com/office/officeart/2005/8/layout/vList2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C3B58903-084F-4FE1-815C-2A21AE181632}">
      <dgm:prSet/>
      <dgm:spPr/>
      <dgm:t>
        <a:bodyPr/>
        <a:lstStyle/>
        <a:p>
          <a:r>
            <a:rPr lang="en-US" dirty="0" err="1"/>
            <a:t>Globalna</a:t>
          </a:r>
          <a:r>
            <a:rPr lang="en-US" dirty="0"/>
            <a:t> </a:t>
          </a:r>
          <a:r>
            <a:rPr lang="en-US" dirty="0" err="1"/>
            <a:t>proizvodnja</a:t>
          </a:r>
          <a:r>
            <a:rPr lang="en-US" dirty="0"/>
            <a:t> </a:t>
          </a:r>
          <a:r>
            <a:rPr lang="en-US" dirty="0" err="1"/>
            <a:t>solarne</a:t>
          </a:r>
          <a:r>
            <a:rPr lang="en-US" dirty="0"/>
            <a:t> </a:t>
          </a:r>
          <a:r>
            <a:rPr lang="en-US" dirty="0" err="1"/>
            <a:t>energije</a:t>
          </a:r>
          <a:r>
            <a:rPr lang="en-US" dirty="0"/>
            <a:t> </a:t>
          </a:r>
          <a:r>
            <a:rPr lang="en-US" dirty="0" err="1"/>
            <a:t>rasla</a:t>
          </a:r>
          <a:r>
            <a:rPr lang="en-US" dirty="0"/>
            <a:t> &gt;20% </a:t>
          </a:r>
          <a:r>
            <a:rPr lang="en-US" dirty="0" err="1"/>
            <a:t>godišnje</a:t>
          </a:r>
          <a:r>
            <a:rPr lang="en-US" dirty="0"/>
            <a:t> u </a:t>
          </a:r>
          <a:r>
            <a:rPr lang="en-US" dirty="0" err="1"/>
            <a:t>zadnjem</a:t>
          </a:r>
          <a:r>
            <a:rPr lang="en-US" dirty="0"/>
            <a:t> </a:t>
          </a:r>
          <a:r>
            <a:rPr lang="en-US" dirty="0" err="1"/>
            <a:t>desetljeću</a:t>
          </a:r>
          <a:r>
            <a:rPr lang="en-US" dirty="0"/>
            <a:t>.</a:t>
          </a:r>
        </a:p>
      </dgm:t>
    </dgm:pt>
    <dgm:pt modelId="{615E00ED-6861-4F9D-8C7D-8D9FC9342E84}" type="parTrans" cxnId="{FEB875E6-7959-4CE3-AD84-4002B57BD58E}">
      <dgm:prSet/>
      <dgm:spPr/>
      <dgm:t>
        <a:bodyPr/>
        <a:lstStyle/>
        <a:p>
          <a:endParaRPr lang="en-US"/>
        </a:p>
      </dgm:t>
    </dgm:pt>
    <dgm:pt modelId="{E793EAFE-F0AB-45F0-A975-9CE03E770DF4}" type="sibTrans" cxnId="{FEB875E6-7959-4CE3-AD84-4002B57BD58E}">
      <dgm:prSet/>
      <dgm:spPr/>
      <dgm:t>
        <a:bodyPr/>
        <a:lstStyle/>
        <a:p>
          <a:endParaRPr lang="en-US"/>
        </a:p>
      </dgm:t>
    </dgm:pt>
    <dgm:pt modelId="{4D025BE0-DD4B-4E4E-9B9C-14E7EA5772F9}">
      <dgm:prSet/>
      <dgm:spPr/>
      <dgm:t>
        <a:bodyPr/>
        <a:lstStyle/>
        <a:p>
          <a:r>
            <a:rPr lang="en-US" dirty="0" err="1"/>
            <a:t>Najveći</a:t>
          </a:r>
          <a:r>
            <a:rPr lang="en-US" dirty="0"/>
            <a:t> </a:t>
          </a:r>
          <a:r>
            <a:rPr lang="en-US" dirty="0" err="1"/>
            <a:t>proizvođači</a:t>
          </a:r>
          <a:r>
            <a:rPr lang="en-US" dirty="0"/>
            <a:t>: Kina, SAD, </a:t>
          </a:r>
          <a:r>
            <a:rPr lang="en-US" dirty="0" err="1"/>
            <a:t>Njemačka</a:t>
          </a:r>
          <a:endParaRPr lang="en-US" dirty="0"/>
        </a:p>
      </dgm:t>
    </dgm:pt>
    <dgm:pt modelId="{FBAFE4C5-88E9-4FC3-89DE-26A0D72F7E29}" type="parTrans" cxnId="{201A49E1-E375-444C-8564-F602483C9A3D}">
      <dgm:prSet/>
      <dgm:spPr/>
      <dgm:t>
        <a:bodyPr/>
        <a:lstStyle/>
        <a:p>
          <a:endParaRPr lang="en-US"/>
        </a:p>
      </dgm:t>
    </dgm:pt>
    <dgm:pt modelId="{7AED711C-EB27-40B4-B8DC-F3AF2439D2F8}" type="sibTrans" cxnId="{201A49E1-E375-444C-8564-F602483C9A3D}">
      <dgm:prSet/>
      <dgm:spPr/>
      <dgm:t>
        <a:bodyPr/>
        <a:lstStyle/>
        <a:p>
          <a:endParaRPr lang="en-US"/>
        </a:p>
      </dgm:t>
    </dgm:pt>
    <dgm:pt modelId="{A9C07EB3-FA89-4056-A82B-DB9AEE4DD9C2}" type="pres">
      <dgm:prSet presAssocID="{0E17B55F-8684-4B8F-8834-7B67F99F77F7}" presName="linear" presStyleCnt="0">
        <dgm:presLayoutVars>
          <dgm:animLvl val="lvl"/>
          <dgm:resizeHandles val="exact"/>
        </dgm:presLayoutVars>
      </dgm:prSet>
      <dgm:spPr/>
    </dgm:pt>
    <dgm:pt modelId="{305B7B6C-F8DA-4CFD-BB2A-3922074F5B41}" type="pres">
      <dgm:prSet presAssocID="{C3B58903-084F-4FE1-815C-2A21AE181632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309A20C1-EAC1-4019-870D-BDFD75D62130}" type="pres">
      <dgm:prSet presAssocID="{E793EAFE-F0AB-45F0-A975-9CE03E770DF4}" presName="spacer" presStyleCnt="0"/>
      <dgm:spPr/>
    </dgm:pt>
    <dgm:pt modelId="{587213BA-7EFE-4A75-A80A-C9FE0E043EC8}" type="pres">
      <dgm:prSet presAssocID="{4D025BE0-DD4B-4E4E-9B9C-14E7EA5772F9}" presName="parentText" presStyleLbl="node1" presStyleIdx="1" presStyleCnt="2">
        <dgm:presLayoutVars>
          <dgm:chMax val="0"/>
          <dgm:bulletEnabled val="1"/>
        </dgm:presLayoutVars>
      </dgm:prSet>
      <dgm:spPr/>
    </dgm:pt>
  </dgm:ptLst>
  <dgm:cxnLst>
    <dgm:cxn modelId="{58CE0B13-1815-448F-8CF7-B99D1EB4A185}" type="presOf" srcId="{4D025BE0-DD4B-4E4E-9B9C-14E7EA5772F9}" destId="{587213BA-7EFE-4A75-A80A-C9FE0E043EC8}" srcOrd="0" destOrd="0" presId="urn:microsoft.com/office/officeart/2005/8/layout/vList2"/>
    <dgm:cxn modelId="{C36BC333-5C19-4411-885A-FFD7259E2EC5}" type="presOf" srcId="{0E17B55F-8684-4B8F-8834-7B67F99F77F7}" destId="{A9C07EB3-FA89-4056-A82B-DB9AEE4DD9C2}" srcOrd="0" destOrd="0" presId="urn:microsoft.com/office/officeart/2005/8/layout/vList2"/>
    <dgm:cxn modelId="{201A49E1-E375-444C-8564-F602483C9A3D}" srcId="{0E17B55F-8684-4B8F-8834-7B67F99F77F7}" destId="{4D025BE0-DD4B-4E4E-9B9C-14E7EA5772F9}" srcOrd="1" destOrd="0" parTransId="{FBAFE4C5-88E9-4FC3-89DE-26A0D72F7E29}" sibTransId="{7AED711C-EB27-40B4-B8DC-F3AF2439D2F8}"/>
    <dgm:cxn modelId="{FEB875E6-7959-4CE3-AD84-4002B57BD58E}" srcId="{0E17B55F-8684-4B8F-8834-7B67F99F77F7}" destId="{C3B58903-084F-4FE1-815C-2A21AE181632}" srcOrd="0" destOrd="0" parTransId="{615E00ED-6861-4F9D-8C7D-8D9FC9342E84}" sibTransId="{E793EAFE-F0AB-45F0-A975-9CE03E770DF4}"/>
    <dgm:cxn modelId="{E0B761EE-18E8-49B0-AB42-9F8D25B26FF4}" type="presOf" srcId="{C3B58903-084F-4FE1-815C-2A21AE181632}" destId="{305B7B6C-F8DA-4CFD-BB2A-3922074F5B41}" srcOrd="0" destOrd="0" presId="urn:microsoft.com/office/officeart/2005/8/layout/vList2"/>
    <dgm:cxn modelId="{5393228A-0343-4090-B35B-4DF20714B62A}" type="presParOf" srcId="{A9C07EB3-FA89-4056-A82B-DB9AEE4DD9C2}" destId="{305B7B6C-F8DA-4CFD-BB2A-3922074F5B41}" srcOrd="0" destOrd="0" presId="urn:microsoft.com/office/officeart/2005/8/layout/vList2"/>
    <dgm:cxn modelId="{4F515D68-560E-4187-9458-4F5815199144}" type="presParOf" srcId="{A9C07EB3-FA89-4056-A82B-DB9AEE4DD9C2}" destId="{309A20C1-EAC1-4019-870D-BDFD75D62130}" srcOrd="1" destOrd="0" presId="urn:microsoft.com/office/officeart/2005/8/layout/vList2"/>
    <dgm:cxn modelId="{50EFB4E3-95DD-4947-BC86-C2E09A17C2B8}" type="presParOf" srcId="{A9C07EB3-FA89-4056-A82B-DB9AEE4DD9C2}" destId="{587213BA-7EFE-4A75-A80A-C9FE0E043EC8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9191F2FB-1AE7-420A-9091-7C5721644C64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45188DD-65E8-4B50-AACE-1E73E605C177}">
      <dgm:prSet/>
      <dgm:spPr/>
      <dgm:t>
        <a:bodyPr/>
        <a:lstStyle/>
        <a:p>
          <a:r>
            <a:rPr lang="en-US" dirty="0" err="1"/>
            <a:t>Solarne</a:t>
          </a:r>
          <a:r>
            <a:rPr lang="en-US" dirty="0"/>
            <a:t> </a:t>
          </a:r>
          <a:r>
            <a:rPr lang="en-US" dirty="0" err="1"/>
            <a:t>elektrane</a:t>
          </a:r>
          <a:r>
            <a:rPr lang="en-US" dirty="0"/>
            <a:t> </a:t>
          </a:r>
          <a:r>
            <a:rPr lang="en-US" dirty="0" err="1"/>
            <a:t>ključna</a:t>
          </a:r>
          <a:r>
            <a:rPr lang="en-US" dirty="0"/>
            <a:t> </a:t>
          </a:r>
          <a:r>
            <a:rPr lang="en-US" dirty="0" err="1"/>
            <a:t>su</a:t>
          </a:r>
          <a:r>
            <a:rPr lang="en-US" dirty="0"/>
            <a:t> </a:t>
          </a:r>
          <a:r>
            <a:rPr lang="en-US" dirty="0" err="1"/>
            <a:t>tehnologija</a:t>
          </a:r>
          <a:r>
            <a:rPr lang="en-US" dirty="0"/>
            <a:t> </a:t>
          </a:r>
          <a:r>
            <a:rPr lang="en-US" dirty="0" err="1"/>
            <a:t>energetske</a:t>
          </a:r>
          <a:r>
            <a:rPr lang="en-US" dirty="0"/>
            <a:t> </a:t>
          </a:r>
          <a:r>
            <a:rPr lang="en-US" dirty="0" err="1"/>
            <a:t>tranzicije</a:t>
          </a:r>
          <a:r>
            <a:rPr lang="en-US" dirty="0"/>
            <a:t>.</a:t>
          </a:r>
        </a:p>
      </dgm:t>
    </dgm:pt>
    <dgm:pt modelId="{ADD0BFAD-3D3B-4EB9-9895-AA1941DB4235}" type="parTrans" cxnId="{3ED64912-5FC8-413A-BA73-9109C0079E8E}">
      <dgm:prSet/>
      <dgm:spPr/>
      <dgm:t>
        <a:bodyPr/>
        <a:lstStyle/>
        <a:p>
          <a:endParaRPr lang="en-US"/>
        </a:p>
      </dgm:t>
    </dgm:pt>
    <dgm:pt modelId="{518E63D0-E9E9-462C-B0E7-5E6C4D0E11D2}" type="sibTrans" cxnId="{3ED64912-5FC8-413A-BA73-9109C0079E8E}">
      <dgm:prSet/>
      <dgm:spPr/>
      <dgm:t>
        <a:bodyPr/>
        <a:lstStyle/>
        <a:p>
          <a:endParaRPr lang="en-US"/>
        </a:p>
      </dgm:t>
    </dgm:pt>
    <dgm:pt modelId="{9B732BE9-9632-4531-929D-4871B1B72083}">
      <dgm:prSet/>
      <dgm:spPr/>
      <dgm:t>
        <a:bodyPr/>
        <a:lstStyle/>
        <a:p>
          <a:r>
            <a:rPr lang="en-US" dirty="0"/>
            <a:t> </a:t>
          </a:r>
          <a:r>
            <a:rPr lang="en-US" dirty="0" err="1"/>
            <a:t>Doprinos</a:t>
          </a:r>
          <a:r>
            <a:rPr lang="en-US" dirty="0"/>
            <a:t> </a:t>
          </a:r>
          <a:r>
            <a:rPr lang="en-US" dirty="0" err="1"/>
            <a:t>globalnoj</a:t>
          </a:r>
          <a:r>
            <a:rPr lang="en-US" dirty="0"/>
            <a:t> </a:t>
          </a:r>
          <a:r>
            <a:rPr lang="en-US" dirty="0" err="1"/>
            <a:t>borbi</a:t>
          </a:r>
          <a:r>
            <a:rPr lang="en-US" dirty="0"/>
            <a:t> </a:t>
          </a:r>
          <a:r>
            <a:rPr lang="en-US" dirty="0" err="1"/>
            <a:t>protiv</a:t>
          </a:r>
          <a:r>
            <a:rPr lang="en-US" dirty="0"/>
            <a:t> </a:t>
          </a:r>
          <a:r>
            <a:rPr lang="en-US" dirty="0" err="1"/>
            <a:t>klimatskih</a:t>
          </a:r>
          <a:r>
            <a:rPr lang="en-US" dirty="0"/>
            <a:t> </a:t>
          </a:r>
          <a:r>
            <a:rPr lang="en-US" dirty="0" err="1"/>
            <a:t>promjena</a:t>
          </a:r>
          <a:r>
            <a:rPr lang="en-US" dirty="0"/>
            <a:t>.</a:t>
          </a:r>
        </a:p>
      </dgm:t>
    </dgm:pt>
    <dgm:pt modelId="{EAC59905-C76A-4AEE-8BD8-962E5E871102}" type="parTrans" cxnId="{8B936E45-FE8E-4898-80B3-D9A87F575042}">
      <dgm:prSet/>
      <dgm:spPr/>
      <dgm:t>
        <a:bodyPr/>
        <a:lstStyle/>
        <a:p>
          <a:endParaRPr lang="en-US"/>
        </a:p>
      </dgm:t>
    </dgm:pt>
    <dgm:pt modelId="{9650B555-FDA1-408A-B1B5-C1C2D49B1EC2}" type="sibTrans" cxnId="{8B936E45-FE8E-4898-80B3-D9A87F575042}">
      <dgm:prSet/>
      <dgm:spPr/>
      <dgm:t>
        <a:bodyPr/>
        <a:lstStyle/>
        <a:p>
          <a:endParaRPr lang="en-US"/>
        </a:p>
      </dgm:t>
    </dgm:pt>
    <dgm:pt modelId="{D99B915A-5337-44E1-A5A9-3181D7A905A3}" type="pres">
      <dgm:prSet presAssocID="{9191F2FB-1AE7-420A-9091-7C5721644C64}" presName="diagram" presStyleCnt="0">
        <dgm:presLayoutVars>
          <dgm:dir/>
          <dgm:resizeHandles val="exact"/>
        </dgm:presLayoutVars>
      </dgm:prSet>
      <dgm:spPr/>
    </dgm:pt>
    <dgm:pt modelId="{0BB13F87-BD5E-4109-8A83-35DBD1B5AA52}" type="pres">
      <dgm:prSet presAssocID="{545188DD-65E8-4B50-AACE-1E73E605C177}" presName="node" presStyleLbl="node1" presStyleIdx="0" presStyleCnt="2">
        <dgm:presLayoutVars>
          <dgm:bulletEnabled val="1"/>
        </dgm:presLayoutVars>
      </dgm:prSet>
      <dgm:spPr/>
    </dgm:pt>
    <dgm:pt modelId="{32A636DB-DF9A-43A3-8FB3-9E926F9C8405}" type="pres">
      <dgm:prSet presAssocID="{518E63D0-E9E9-462C-B0E7-5E6C4D0E11D2}" presName="sibTrans" presStyleCnt="0"/>
      <dgm:spPr/>
    </dgm:pt>
    <dgm:pt modelId="{F3C43949-30D4-4CAE-9EFD-96F9CEE80636}" type="pres">
      <dgm:prSet presAssocID="{9B732BE9-9632-4531-929D-4871B1B72083}" presName="node" presStyleLbl="node1" presStyleIdx="1" presStyleCnt="2">
        <dgm:presLayoutVars>
          <dgm:bulletEnabled val="1"/>
        </dgm:presLayoutVars>
      </dgm:prSet>
      <dgm:spPr/>
    </dgm:pt>
  </dgm:ptLst>
  <dgm:cxnLst>
    <dgm:cxn modelId="{3ED64912-5FC8-413A-BA73-9109C0079E8E}" srcId="{9191F2FB-1AE7-420A-9091-7C5721644C64}" destId="{545188DD-65E8-4B50-AACE-1E73E605C177}" srcOrd="0" destOrd="0" parTransId="{ADD0BFAD-3D3B-4EB9-9895-AA1941DB4235}" sibTransId="{518E63D0-E9E9-462C-B0E7-5E6C4D0E11D2}"/>
    <dgm:cxn modelId="{08BE0913-8CEF-4C09-8BA0-D45375FC3BBE}" type="presOf" srcId="{545188DD-65E8-4B50-AACE-1E73E605C177}" destId="{0BB13F87-BD5E-4109-8A83-35DBD1B5AA52}" srcOrd="0" destOrd="0" presId="urn:microsoft.com/office/officeart/2005/8/layout/default"/>
    <dgm:cxn modelId="{8B936E45-FE8E-4898-80B3-D9A87F575042}" srcId="{9191F2FB-1AE7-420A-9091-7C5721644C64}" destId="{9B732BE9-9632-4531-929D-4871B1B72083}" srcOrd="1" destOrd="0" parTransId="{EAC59905-C76A-4AEE-8BD8-962E5E871102}" sibTransId="{9650B555-FDA1-408A-B1B5-C1C2D49B1EC2}"/>
    <dgm:cxn modelId="{08F90D79-9FC9-4584-A97F-7B7F624E789E}" type="presOf" srcId="{9B732BE9-9632-4531-929D-4871B1B72083}" destId="{F3C43949-30D4-4CAE-9EFD-96F9CEE80636}" srcOrd="0" destOrd="0" presId="urn:microsoft.com/office/officeart/2005/8/layout/default"/>
    <dgm:cxn modelId="{B03E919C-4952-4570-8C7E-327E221AE54E}" type="presOf" srcId="{9191F2FB-1AE7-420A-9091-7C5721644C64}" destId="{D99B915A-5337-44E1-A5A9-3181D7A905A3}" srcOrd="0" destOrd="0" presId="urn:microsoft.com/office/officeart/2005/8/layout/default"/>
    <dgm:cxn modelId="{F7503767-269C-4611-9FA5-7493E74BBF6F}" type="presParOf" srcId="{D99B915A-5337-44E1-A5A9-3181D7A905A3}" destId="{0BB13F87-BD5E-4109-8A83-35DBD1B5AA52}" srcOrd="0" destOrd="0" presId="urn:microsoft.com/office/officeart/2005/8/layout/default"/>
    <dgm:cxn modelId="{7ADD9744-6FA3-43D6-9C3B-F0660D8F0036}" type="presParOf" srcId="{D99B915A-5337-44E1-A5A9-3181D7A905A3}" destId="{32A636DB-DF9A-43A3-8FB3-9E926F9C8405}" srcOrd="1" destOrd="0" presId="urn:microsoft.com/office/officeart/2005/8/layout/default"/>
    <dgm:cxn modelId="{8FEC6C89-9FDA-477B-94D3-6CFB33739C3F}" type="presParOf" srcId="{D99B915A-5337-44E1-A5A9-3181D7A905A3}" destId="{F3C43949-30D4-4CAE-9EFD-96F9CEE80636}" srcOrd="2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16FF668-472A-4403-89A7-3002CC57470A}">
      <dsp:nvSpPr>
        <dsp:cNvPr id="0" name=""/>
        <dsp:cNvSpPr/>
      </dsp:nvSpPr>
      <dsp:spPr>
        <a:xfrm>
          <a:off x="1000" y="401289"/>
          <a:ext cx="3511658" cy="222990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285852A-6163-4740-8851-AB6D5F8BD0EA}">
      <dsp:nvSpPr>
        <dsp:cNvPr id="0" name=""/>
        <dsp:cNvSpPr/>
      </dsp:nvSpPr>
      <dsp:spPr>
        <a:xfrm>
          <a:off x="391184" y="771964"/>
          <a:ext cx="3511658" cy="222990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/>
            <a:t>Solarne elektrane koriste sunčevu energiju za proizvodnju električne energije.</a:t>
          </a:r>
        </a:p>
      </dsp:txBody>
      <dsp:txXfrm>
        <a:off x="456496" y="837276"/>
        <a:ext cx="3381034" cy="2099279"/>
      </dsp:txXfrm>
    </dsp:sp>
    <dsp:sp modelId="{CD775A3E-0BE3-4366-B785-DBEDA7AD0AD5}">
      <dsp:nvSpPr>
        <dsp:cNvPr id="0" name=""/>
        <dsp:cNvSpPr/>
      </dsp:nvSpPr>
      <dsp:spPr>
        <a:xfrm>
          <a:off x="4293027" y="401289"/>
          <a:ext cx="3511658" cy="222990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FEE2C54-B7E0-457F-BDB8-367BA31A9746}">
      <dsp:nvSpPr>
        <dsp:cNvPr id="0" name=""/>
        <dsp:cNvSpPr/>
      </dsp:nvSpPr>
      <dsp:spPr>
        <a:xfrm>
          <a:off x="4683211" y="771964"/>
          <a:ext cx="3511658" cy="222990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/>
            <a:t>Predstavljaju čisto, obnovljivo rješenje koje smanjuje emisiju stakleničkih plinova.</a:t>
          </a:r>
        </a:p>
      </dsp:txBody>
      <dsp:txXfrm>
        <a:off x="4748523" y="837276"/>
        <a:ext cx="3381034" cy="209927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20C4754-2299-4513-AC59-94073F8C2E83}">
      <dsp:nvSpPr>
        <dsp:cNvPr id="0" name=""/>
        <dsp:cNvSpPr/>
      </dsp:nvSpPr>
      <dsp:spPr>
        <a:xfrm>
          <a:off x="1099810" y="238986"/>
          <a:ext cx="1660500" cy="166050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6789E97-DB87-4387-92AB-FB6013A33D0B}">
      <dsp:nvSpPr>
        <dsp:cNvPr id="0" name=""/>
        <dsp:cNvSpPr/>
      </dsp:nvSpPr>
      <dsp:spPr>
        <a:xfrm>
          <a:off x="85060" y="2319843"/>
          <a:ext cx="369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 dirty="0" err="1"/>
            <a:t>Solarni</a:t>
          </a:r>
          <a:r>
            <a:rPr lang="en-US" sz="1700" b="1" kern="1200" dirty="0"/>
            <a:t> </a:t>
          </a:r>
          <a:r>
            <a:rPr lang="en-US" sz="1700" b="1" kern="1200" dirty="0" err="1"/>
            <a:t>paneli</a:t>
          </a:r>
          <a:r>
            <a:rPr lang="en-US" sz="1700" b="1" kern="1200" dirty="0"/>
            <a:t> </a:t>
          </a:r>
          <a:r>
            <a:rPr lang="en-US" sz="1700" b="1" kern="1200" dirty="0" err="1"/>
            <a:t>pretvaraju</a:t>
          </a:r>
          <a:r>
            <a:rPr lang="en-US" sz="1700" b="1" kern="1200" dirty="0"/>
            <a:t> </a:t>
          </a:r>
          <a:r>
            <a:rPr lang="en-US" sz="1700" b="1" kern="1200" dirty="0" err="1"/>
            <a:t>sunčevu</a:t>
          </a:r>
          <a:r>
            <a:rPr lang="en-US" sz="1700" b="1" kern="1200" dirty="0"/>
            <a:t> </a:t>
          </a:r>
          <a:r>
            <a:rPr lang="en-US" sz="1700" b="1" kern="1200" dirty="0" err="1"/>
            <a:t>svjetlost</a:t>
          </a:r>
          <a:r>
            <a:rPr lang="en-US" sz="1700" b="1" kern="1200" dirty="0"/>
            <a:t> u </a:t>
          </a:r>
          <a:r>
            <a:rPr lang="en-US" sz="1700" b="1" kern="1200" dirty="0" err="1"/>
            <a:t>istosmjernu</a:t>
          </a:r>
          <a:r>
            <a:rPr lang="en-US" sz="1700" b="1" kern="1200" dirty="0"/>
            <a:t> (DC) </a:t>
          </a:r>
          <a:r>
            <a:rPr lang="en-US" sz="1700" b="1" kern="1200" dirty="0" err="1"/>
            <a:t>električnu</a:t>
          </a:r>
          <a:r>
            <a:rPr lang="en-US" sz="1700" b="1" kern="1200" dirty="0"/>
            <a:t> </a:t>
          </a:r>
          <a:r>
            <a:rPr lang="en-US" sz="1700" b="1" kern="1200" dirty="0" err="1"/>
            <a:t>energiju</a:t>
          </a:r>
          <a:endParaRPr lang="en-US" sz="1700" b="1" kern="1200" dirty="0"/>
        </a:p>
      </dsp:txBody>
      <dsp:txXfrm>
        <a:off x="85060" y="2319843"/>
        <a:ext cx="3690000" cy="720000"/>
      </dsp:txXfrm>
    </dsp:sp>
    <dsp:sp modelId="{B4CAA5D9-11D8-46BD-9CF9-7A151878E033}">
      <dsp:nvSpPr>
        <dsp:cNvPr id="0" name=""/>
        <dsp:cNvSpPr/>
      </dsp:nvSpPr>
      <dsp:spPr>
        <a:xfrm>
          <a:off x="5435560" y="238986"/>
          <a:ext cx="1660500" cy="1660500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B41818D-F7D8-42B6-9AC9-476707FEAF46}">
      <dsp:nvSpPr>
        <dsp:cNvPr id="0" name=""/>
        <dsp:cNvSpPr/>
      </dsp:nvSpPr>
      <dsp:spPr>
        <a:xfrm>
          <a:off x="4420810" y="2319843"/>
          <a:ext cx="369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 </a:t>
          </a:r>
          <a:r>
            <a:rPr lang="en-US" sz="1700" b="1" kern="1200" dirty="0"/>
            <a:t>Inverter </a:t>
          </a:r>
          <a:r>
            <a:rPr lang="en-US" sz="1700" b="1" kern="1200" dirty="0" err="1"/>
            <a:t>pretvara</a:t>
          </a:r>
          <a:r>
            <a:rPr lang="en-US" sz="1700" b="1" kern="1200" dirty="0"/>
            <a:t> </a:t>
          </a:r>
          <a:r>
            <a:rPr lang="en-US" sz="1700" b="1" kern="1200" dirty="0" err="1"/>
            <a:t>istosmjernu</a:t>
          </a:r>
          <a:r>
            <a:rPr lang="en-US" sz="1700" b="1" kern="1200" dirty="0"/>
            <a:t> </a:t>
          </a:r>
          <a:r>
            <a:rPr lang="en-US" sz="1700" b="1" kern="1200" dirty="0" err="1"/>
            <a:t>struju</a:t>
          </a:r>
          <a:r>
            <a:rPr lang="en-US" sz="1700" b="1" kern="1200" dirty="0"/>
            <a:t> u </a:t>
          </a:r>
          <a:r>
            <a:rPr lang="en-US" sz="1700" b="1" kern="1200" dirty="0" err="1"/>
            <a:t>izmjeničnu</a:t>
          </a:r>
          <a:r>
            <a:rPr lang="en-US" sz="1700" b="1" kern="1200" dirty="0"/>
            <a:t> (AC) </a:t>
          </a:r>
          <a:r>
            <a:rPr lang="en-US" sz="1700" b="1" kern="1200" dirty="0" err="1"/>
            <a:t>pogodnu</a:t>
          </a:r>
          <a:r>
            <a:rPr lang="en-US" sz="1700" b="1" kern="1200" dirty="0"/>
            <a:t> za </a:t>
          </a:r>
          <a:r>
            <a:rPr lang="en-US" sz="1700" b="1" kern="1200" dirty="0" err="1"/>
            <a:t>kućanstva</a:t>
          </a:r>
          <a:r>
            <a:rPr lang="en-US" sz="1700" b="1" kern="1200" dirty="0"/>
            <a:t> </a:t>
          </a:r>
          <a:r>
            <a:rPr lang="en-US" sz="1700" b="1" kern="1200" dirty="0" err="1"/>
            <a:t>i</a:t>
          </a:r>
          <a:r>
            <a:rPr lang="en-US" sz="1700" b="1" kern="1200" dirty="0"/>
            <a:t> </a:t>
          </a:r>
          <a:r>
            <a:rPr lang="en-US" sz="1700" b="1" kern="1200" dirty="0" err="1"/>
            <a:t>industriju</a:t>
          </a:r>
          <a:endParaRPr lang="en-US" sz="1700" b="1" kern="1200" dirty="0"/>
        </a:p>
      </dsp:txBody>
      <dsp:txXfrm>
        <a:off x="4420810" y="2319843"/>
        <a:ext cx="3690000" cy="7200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B83BD6B-14BA-4A78-A188-AD109F8AFE80}">
      <dsp:nvSpPr>
        <dsp:cNvPr id="0" name=""/>
        <dsp:cNvSpPr/>
      </dsp:nvSpPr>
      <dsp:spPr>
        <a:xfrm>
          <a:off x="0" y="66842"/>
          <a:ext cx="8195871" cy="81549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marL="0" lvl="0" indent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400" kern="1200" dirty="0" err="1"/>
            <a:t>Solarni</a:t>
          </a:r>
          <a:r>
            <a:rPr lang="en-US" sz="3400" kern="1200" dirty="0"/>
            <a:t> </a:t>
          </a:r>
          <a:r>
            <a:rPr lang="en-US" sz="3400" kern="1200" dirty="0" err="1"/>
            <a:t>paneli</a:t>
          </a:r>
          <a:endParaRPr lang="en-US" sz="3400" kern="1200" dirty="0"/>
        </a:p>
      </dsp:txBody>
      <dsp:txXfrm>
        <a:off x="39809" y="106651"/>
        <a:ext cx="8116253" cy="735872"/>
      </dsp:txXfrm>
    </dsp:sp>
    <dsp:sp modelId="{9D3D83D0-D4C8-4383-9E2B-E71E6B0027B7}">
      <dsp:nvSpPr>
        <dsp:cNvPr id="0" name=""/>
        <dsp:cNvSpPr/>
      </dsp:nvSpPr>
      <dsp:spPr>
        <a:xfrm>
          <a:off x="0" y="980252"/>
          <a:ext cx="8195871" cy="815490"/>
        </a:xfrm>
        <a:prstGeom prst="roundRect">
          <a:avLst/>
        </a:prstGeom>
        <a:solidFill>
          <a:schemeClr val="accent2">
            <a:hueOff val="1560506"/>
            <a:satOff val="-1946"/>
            <a:lumOff val="45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marL="0" lvl="0" indent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400" kern="1200" dirty="0"/>
            <a:t>Inverter</a:t>
          </a:r>
        </a:p>
      </dsp:txBody>
      <dsp:txXfrm>
        <a:off x="39809" y="1020061"/>
        <a:ext cx="8116253" cy="735872"/>
      </dsp:txXfrm>
    </dsp:sp>
    <dsp:sp modelId="{DB137B1C-9DA3-4513-9411-D69D154D448E}">
      <dsp:nvSpPr>
        <dsp:cNvPr id="0" name=""/>
        <dsp:cNvSpPr/>
      </dsp:nvSpPr>
      <dsp:spPr>
        <a:xfrm>
          <a:off x="0" y="1893662"/>
          <a:ext cx="8195871" cy="815490"/>
        </a:xfrm>
        <a:prstGeom prst="roundRect">
          <a:avLst/>
        </a:prstGeom>
        <a:solidFill>
          <a:schemeClr val="accent2">
            <a:hueOff val="3121013"/>
            <a:satOff val="-3893"/>
            <a:lumOff val="91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marL="0" lvl="0" indent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400" kern="1200" dirty="0" err="1"/>
            <a:t>Baterije</a:t>
          </a:r>
          <a:r>
            <a:rPr lang="hr-HR" sz="3400" kern="1200" dirty="0"/>
            <a:t> – opcionalano za sada - budućnost!</a:t>
          </a:r>
          <a:endParaRPr lang="en-US" sz="3400" kern="1200" dirty="0"/>
        </a:p>
      </dsp:txBody>
      <dsp:txXfrm>
        <a:off x="39809" y="1933471"/>
        <a:ext cx="8116253" cy="735872"/>
      </dsp:txXfrm>
    </dsp:sp>
    <dsp:sp modelId="{C0040E2D-F740-460A-BE8B-7D8A88498A75}">
      <dsp:nvSpPr>
        <dsp:cNvPr id="0" name=""/>
        <dsp:cNvSpPr/>
      </dsp:nvSpPr>
      <dsp:spPr>
        <a:xfrm>
          <a:off x="0" y="2807072"/>
          <a:ext cx="8195871" cy="815490"/>
        </a:xfrm>
        <a:prstGeom prst="roundRect">
          <a:avLst/>
        </a:prstGeom>
        <a:solidFill>
          <a:schemeClr val="accent2">
            <a:hueOff val="4681519"/>
            <a:satOff val="-5839"/>
            <a:lumOff val="137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marL="0" lvl="0" indent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400" kern="1200" dirty="0" err="1"/>
            <a:t>Električni</a:t>
          </a:r>
          <a:r>
            <a:rPr lang="en-US" sz="3400" kern="1200" dirty="0"/>
            <a:t> </a:t>
          </a:r>
          <a:r>
            <a:rPr lang="en-US" sz="3400" kern="1200" dirty="0" err="1"/>
            <a:t>ormari</a:t>
          </a:r>
          <a:r>
            <a:rPr lang="en-US" sz="3400" kern="1200" dirty="0"/>
            <a:t> </a:t>
          </a:r>
          <a:r>
            <a:rPr lang="en-US" sz="3400" kern="1200" dirty="0" err="1"/>
            <a:t>i</a:t>
          </a:r>
          <a:r>
            <a:rPr lang="en-US" sz="3400" kern="1200" dirty="0"/>
            <a:t> </a:t>
          </a:r>
          <a:r>
            <a:rPr lang="en-US" sz="3400" kern="1200" dirty="0" err="1"/>
            <a:t>mrežni</a:t>
          </a:r>
          <a:r>
            <a:rPr lang="en-US" sz="3400" kern="1200" dirty="0"/>
            <a:t> </a:t>
          </a:r>
          <a:r>
            <a:rPr lang="en-US" sz="3400" kern="1200" dirty="0" err="1"/>
            <a:t>priključak</a:t>
          </a:r>
          <a:endParaRPr lang="en-US" sz="3400" kern="1200" dirty="0"/>
        </a:p>
      </dsp:txBody>
      <dsp:txXfrm>
        <a:off x="39809" y="2846881"/>
        <a:ext cx="8116253" cy="73587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F012745-F184-408A-A697-E3CFC1BE66CE}">
      <dsp:nvSpPr>
        <dsp:cNvPr id="0" name=""/>
        <dsp:cNvSpPr/>
      </dsp:nvSpPr>
      <dsp:spPr>
        <a:xfrm>
          <a:off x="3820120" y="1736650"/>
          <a:ext cx="2711053" cy="64510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39621"/>
              </a:lnTo>
              <a:lnTo>
                <a:pt x="2711053" y="439621"/>
              </a:lnTo>
              <a:lnTo>
                <a:pt x="2711053" y="64510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89EABED-703E-4815-9228-8E32B7CDEE11}">
      <dsp:nvSpPr>
        <dsp:cNvPr id="0" name=""/>
        <dsp:cNvSpPr/>
      </dsp:nvSpPr>
      <dsp:spPr>
        <a:xfrm>
          <a:off x="3774400" y="1736650"/>
          <a:ext cx="91440" cy="64510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64510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BB58C9A-9889-409B-9C63-5FD73399958E}">
      <dsp:nvSpPr>
        <dsp:cNvPr id="0" name=""/>
        <dsp:cNvSpPr/>
      </dsp:nvSpPr>
      <dsp:spPr>
        <a:xfrm>
          <a:off x="1109067" y="1736650"/>
          <a:ext cx="2711053" cy="645107"/>
        </a:xfrm>
        <a:custGeom>
          <a:avLst/>
          <a:gdLst/>
          <a:ahLst/>
          <a:cxnLst/>
          <a:rect l="0" t="0" r="0" b="0"/>
          <a:pathLst>
            <a:path>
              <a:moveTo>
                <a:pt x="2711053" y="0"/>
              </a:moveTo>
              <a:lnTo>
                <a:pt x="2711053" y="439621"/>
              </a:lnTo>
              <a:lnTo>
                <a:pt x="0" y="439621"/>
              </a:lnTo>
              <a:lnTo>
                <a:pt x="0" y="64510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DC02FB7-C8FC-4A0B-BB86-FBE6EB8127B3}">
      <dsp:nvSpPr>
        <dsp:cNvPr id="0" name=""/>
        <dsp:cNvSpPr/>
      </dsp:nvSpPr>
      <dsp:spPr>
        <a:xfrm>
          <a:off x="0" y="328134"/>
          <a:ext cx="2218134" cy="140851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07FF5B5-00A4-4CE6-B401-840CC7CF346B}">
      <dsp:nvSpPr>
        <dsp:cNvPr id="0" name=""/>
        <dsp:cNvSpPr/>
      </dsp:nvSpPr>
      <dsp:spPr>
        <a:xfrm>
          <a:off x="246459" y="562271"/>
          <a:ext cx="2218134" cy="14085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/>
            <a:t>1. </a:t>
          </a:r>
          <a:r>
            <a:rPr lang="en-US" sz="1800" b="1" kern="1200" dirty="0" err="1"/>
            <a:t>Sunčeva</a:t>
          </a:r>
          <a:r>
            <a:rPr lang="en-US" sz="1800" b="1" kern="1200" dirty="0"/>
            <a:t> </a:t>
          </a:r>
          <a:r>
            <a:rPr lang="en-US" sz="1800" b="1" kern="1200" dirty="0" err="1"/>
            <a:t>svjetlost</a:t>
          </a:r>
          <a:r>
            <a:rPr lang="en-US" sz="1800" b="1" kern="1200" dirty="0"/>
            <a:t> pada </a:t>
          </a:r>
          <a:r>
            <a:rPr lang="en-US" sz="1800" b="1" kern="1200" dirty="0" err="1"/>
            <a:t>na</a:t>
          </a:r>
          <a:r>
            <a:rPr lang="en-US" sz="1800" b="1" kern="1200" dirty="0"/>
            <a:t> </a:t>
          </a:r>
          <a:r>
            <a:rPr lang="en-US" sz="1800" b="1" kern="1200" dirty="0" err="1"/>
            <a:t>ćelije</a:t>
          </a:r>
          <a:endParaRPr lang="en-US" sz="1800" b="1" kern="1200" dirty="0"/>
        </a:p>
      </dsp:txBody>
      <dsp:txXfrm>
        <a:off x="287713" y="603525"/>
        <a:ext cx="2135626" cy="1326007"/>
      </dsp:txXfrm>
    </dsp:sp>
    <dsp:sp modelId="{F9ECB3B6-2D08-441B-BC92-44C19E86C534}">
      <dsp:nvSpPr>
        <dsp:cNvPr id="0" name=""/>
        <dsp:cNvSpPr/>
      </dsp:nvSpPr>
      <dsp:spPr>
        <a:xfrm>
          <a:off x="2711053" y="328134"/>
          <a:ext cx="2218134" cy="140851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72FE6C4-A2BE-43A1-BCC6-539590EA0A81}">
      <dsp:nvSpPr>
        <dsp:cNvPr id="0" name=""/>
        <dsp:cNvSpPr/>
      </dsp:nvSpPr>
      <dsp:spPr>
        <a:xfrm>
          <a:off x="2957512" y="562271"/>
          <a:ext cx="2218134" cy="14085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400" b="1" kern="1200" dirty="0"/>
            <a:t>Fotoni iz sunčeve svjetlosti udaraju u fotonaponske ćelije na panelima, uzrokujući oslobađanje elektrona. Ti elektroni stvaraju električnu struju.</a:t>
          </a:r>
          <a:endParaRPr lang="en-US" sz="1400" b="1" kern="1200" dirty="0"/>
        </a:p>
      </dsp:txBody>
      <dsp:txXfrm>
        <a:off x="2998766" y="603525"/>
        <a:ext cx="2135626" cy="1326007"/>
      </dsp:txXfrm>
    </dsp:sp>
    <dsp:sp modelId="{B472A238-D016-4FF6-A8ED-8A5210FB59F0}">
      <dsp:nvSpPr>
        <dsp:cNvPr id="0" name=""/>
        <dsp:cNvSpPr/>
      </dsp:nvSpPr>
      <dsp:spPr>
        <a:xfrm>
          <a:off x="0" y="2381757"/>
          <a:ext cx="2218134" cy="140851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22F3D96-31D1-46EE-B43D-C52FFC660B6B}">
      <dsp:nvSpPr>
        <dsp:cNvPr id="0" name=""/>
        <dsp:cNvSpPr/>
      </dsp:nvSpPr>
      <dsp:spPr>
        <a:xfrm>
          <a:off x="246459" y="2615893"/>
          <a:ext cx="2218134" cy="14085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/>
            <a:t>2. </a:t>
          </a:r>
          <a:r>
            <a:rPr lang="en-US" sz="1800" b="1" kern="1200" dirty="0" err="1"/>
            <a:t>Stvara</a:t>
          </a:r>
          <a:r>
            <a:rPr lang="en-US" sz="1800" b="1" kern="1200" dirty="0"/>
            <a:t> se </a:t>
          </a:r>
          <a:r>
            <a:rPr lang="en-US" sz="1800" b="1" kern="1200" dirty="0" err="1"/>
            <a:t>tok</a:t>
          </a:r>
          <a:r>
            <a:rPr lang="en-US" sz="1800" b="1" kern="1200" dirty="0"/>
            <a:t> </a:t>
          </a:r>
          <a:r>
            <a:rPr lang="en-US" sz="1800" b="1" kern="1200" dirty="0" err="1"/>
            <a:t>elektrona</a:t>
          </a:r>
          <a:r>
            <a:rPr lang="en-US" sz="1800" b="1" kern="1200" dirty="0"/>
            <a:t> (DC </a:t>
          </a:r>
          <a:r>
            <a:rPr lang="en-US" sz="1800" b="1" kern="1200" dirty="0" err="1"/>
            <a:t>struja</a:t>
          </a:r>
          <a:r>
            <a:rPr lang="en-US" sz="1800" b="1" kern="1200" dirty="0"/>
            <a:t>)</a:t>
          </a:r>
        </a:p>
      </dsp:txBody>
      <dsp:txXfrm>
        <a:off x="287713" y="2657147"/>
        <a:ext cx="2135626" cy="1326007"/>
      </dsp:txXfrm>
    </dsp:sp>
    <dsp:sp modelId="{4F22A01B-B1CF-441F-9FFB-6B12178A624F}">
      <dsp:nvSpPr>
        <dsp:cNvPr id="0" name=""/>
        <dsp:cNvSpPr/>
      </dsp:nvSpPr>
      <dsp:spPr>
        <a:xfrm>
          <a:off x="2711053" y="2381757"/>
          <a:ext cx="2218134" cy="140851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53D6601-079E-448E-9E5E-93B94F29512A}">
      <dsp:nvSpPr>
        <dsp:cNvPr id="0" name=""/>
        <dsp:cNvSpPr/>
      </dsp:nvSpPr>
      <dsp:spPr>
        <a:xfrm>
          <a:off x="2957512" y="2615893"/>
          <a:ext cx="2218134" cy="14085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/>
            <a:t>3. Inverter </a:t>
          </a:r>
          <a:r>
            <a:rPr lang="en-US" sz="1800" b="1" kern="1200" dirty="0" err="1"/>
            <a:t>pretvara</a:t>
          </a:r>
          <a:r>
            <a:rPr lang="en-US" sz="1800" b="1" kern="1200" dirty="0"/>
            <a:t> u AC </a:t>
          </a:r>
          <a:r>
            <a:rPr lang="en-US" sz="1800" b="1" kern="1200" dirty="0" err="1"/>
            <a:t>struju</a:t>
          </a:r>
          <a:endParaRPr lang="en-US" sz="1800" b="1" kern="1200" dirty="0"/>
        </a:p>
      </dsp:txBody>
      <dsp:txXfrm>
        <a:off x="2998766" y="2657147"/>
        <a:ext cx="2135626" cy="1326007"/>
      </dsp:txXfrm>
    </dsp:sp>
    <dsp:sp modelId="{DB914785-817A-4898-9BF1-3ACDB332826E}">
      <dsp:nvSpPr>
        <dsp:cNvPr id="0" name=""/>
        <dsp:cNvSpPr/>
      </dsp:nvSpPr>
      <dsp:spPr>
        <a:xfrm>
          <a:off x="5422106" y="2381757"/>
          <a:ext cx="2218134" cy="140851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26DDA2-0773-439A-B764-E3E12296DE1A}">
      <dsp:nvSpPr>
        <dsp:cNvPr id="0" name=""/>
        <dsp:cNvSpPr/>
      </dsp:nvSpPr>
      <dsp:spPr>
        <a:xfrm>
          <a:off x="5668565" y="2615893"/>
          <a:ext cx="2218134" cy="14085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/>
            <a:t>4. </a:t>
          </a:r>
          <a:r>
            <a:rPr lang="en-US" sz="2000" b="1" kern="1200" dirty="0" err="1"/>
            <a:t>Energija</a:t>
          </a:r>
          <a:r>
            <a:rPr lang="en-US" sz="2000" b="1" kern="1200" dirty="0"/>
            <a:t> ide u </a:t>
          </a:r>
          <a:r>
            <a:rPr lang="en-US" sz="2000" b="1" kern="1200" dirty="0" err="1"/>
            <a:t>potrošnju</a:t>
          </a:r>
          <a:r>
            <a:rPr lang="en-US" sz="2000" b="1" kern="1200" dirty="0"/>
            <a:t> </a:t>
          </a:r>
          <a:r>
            <a:rPr lang="en-US" sz="2000" b="1" kern="1200" dirty="0" err="1"/>
            <a:t>ili</a:t>
          </a:r>
          <a:r>
            <a:rPr lang="en-US" sz="2000" b="1" kern="1200" dirty="0"/>
            <a:t> u </a:t>
          </a:r>
          <a:r>
            <a:rPr lang="en-US" sz="2000" b="1" kern="1200" dirty="0" err="1"/>
            <a:t>mrežu</a:t>
          </a:r>
          <a:endParaRPr lang="en-US" sz="1200" b="1" kern="1200" dirty="0"/>
        </a:p>
      </dsp:txBody>
      <dsp:txXfrm>
        <a:off x="5709819" y="2657147"/>
        <a:ext cx="2135626" cy="1326007"/>
      </dsp:txXfrm>
    </dsp:sp>
    <dsp:sp modelId="{0D845CB0-0C48-4AD0-BD11-56E200C981F7}">
      <dsp:nvSpPr>
        <dsp:cNvPr id="0" name=""/>
        <dsp:cNvSpPr/>
      </dsp:nvSpPr>
      <dsp:spPr>
        <a:xfrm>
          <a:off x="5422106" y="328134"/>
          <a:ext cx="2218134" cy="140851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3BFF75F-6279-4E3F-9DDA-DD4CB8110671}">
      <dsp:nvSpPr>
        <dsp:cNvPr id="0" name=""/>
        <dsp:cNvSpPr/>
      </dsp:nvSpPr>
      <dsp:spPr>
        <a:xfrm>
          <a:off x="5668565" y="562271"/>
          <a:ext cx="2218134" cy="140851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hr-HR" sz="1400" b="1" i="0" kern="1200" dirty="0">
              <a:effectLst/>
              <a:latin typeface="+mj-lt"/>
            </a:rPr>
            <a:t>Fotonaponske ćelije se sastoje od dva različito nabijena poluvodiča između kojih se stvara elektricitet. Zatvorimo li strujni krug, struja će poteći. </a:t>
          </a:r>
          <a:endParaRPr lang="hr-HR" sz="1400" b="1" kern="1200" dirty="0">
            <a:latin typeface="+mj-lt"/>
          </a:endParaRPr>
        </a:p>
      </dsp:txBody>
      <dsp:txXfrm>
        <a:off x="5709819" y="603525"/>
        <a:ext cx="2135626" cy="132600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E1C86A-27E4-4EA9-B02B-657B344DF553}">
      <dsp:nvSpPr>
        <dsp:cNvPr id="0" name=""/>
        <dsp:cNvSpPr/>
      </dsp:nvSpPr>
      <dsp:spPr>
        <a:xfrm>
          <a:off x="1000" y="544413"/>
          <a:ext cx="3511658" cy="222990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099B133-E108-4E09-B828-D1FEDF68E1CD}">
      <dsp:nvSpPr>
        <dsp:cNvPr id="0" name=""/>
        <dsp:cNvSpPr/>
      </dsp:nvSpPr>
      <dsp:spPr>
        <a:xfrm>
          <a:off x="391184" y="915088"/>
          <a:ext cx="3511658" cy="222990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marL="0" lvl="0" indent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300" kern="1200" dirty="0" err="1"/>
            <a:t>Fotonaponske</a:t>
          </a:r>
          <a:r>
            <a:rPr lang="en-US" sz="3300" kern="1200" dirty="0"/>
            <a:t> (PV): </a:t>
          </a:r>
          <a:r>
            <a:rPr lang="en-US" sz="3300" kern="1200" dirty="0" err="1"/>
            <a:t>Izravna</a:t>
          </a:r>
          <a:r>
            <a:rPr lang="en-US" sz="3300" kern="1200" dirty="0"/>
            <a:t> </a:t>
          </a:r>
          <a:r>
            <a:rPr lang="en-US" sz="3300" kern="1200" dirty="0" err="1"/>
            <a:t>proizvodnja</a:t>
          </a:r>
          <a:r>
            <a:rPr lang="en-US" sz="3300" kern="1200" dirty="0"/>
            <a:t> </a:t>
          </a:r>
          <a:r>
            <a:rPr lang="en-US" sz="3300" kern="1200" dirty="0" err="1"/>
            <a:t>struje</a:t>
          </a:r>
          <a:r>
            <a:rPr lang="en-US" sz="3300" kern="1200" dirty="0"/>
            <a:t>.</a:t>
          </a:r>
        </a:p>
      </dsp:txBody>
      <dsp:txXfrm>
        <a:off x="456496" y="980400"/>
        <a:ext cx="3381034" cy="2099279"/>
      </dsp:txXfrm>
    </dsp:sp>
    <dsp:sp modelId="{6E574FDB-3B32-49E8-A41E-FC92252DBB18}">
      <dsp:nvSpPr>
        <dsp:cNvPr id="0" name=""/>
        <dsp:cNvSpPr/>
      </dsp:nvSpPr>
      <dsp:spPr>
        <a:xfrm>
          <a:off x="4293027" y="544413"/>
          <a:ext cx="3511658" cy="222990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98B5F23-81A2-403C-98C3-EC750CAFA325}">
      <dsp:nvSpPr>
        <dsp:cNvPr id="0" name=""/>
        <dsp:cNvSpPr/>
      </dsp:nvSpPr>
      <dsp:spPr>
        <a:xfrm>
          <a:off x="4683211" y="915088"/>
          <a:ext cx="3511658" cy="222990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marL="0" lvl="0" indent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300" kern="1200" dirty="0" err="1"/>
            <a:t>Solarne</a:t>
          </a:r>
          <a:r>
            <a:rPr lang="en-US" sz="3300" kern="1200" dirty="0"/>
            <a:t> </a:t>
          </a:r>
          <a:r>
            <a:rPr lang="en-US" sz="3300" kern="1200" dirty="0" err="1"/>
            <a:t>termalne</a:t>
          </a:r>
          <a:r>
            <a:rPr lang="en-US" sz="3300" kern="1200" dirty="0"/>
            <a:t>: </a:t>
          </a:r>
          <a:r>
            <a:rPr lang="en-US" sz="3300" kern="1200" dirty="0" err="1"/>
            <a:t>Koriste</a:t>
          </a:r>
          <a:r>
            <a:rPr lang="en-US" sz="3300" kern="1200" dirty="0"/>
            <a:t> </a:t>
          </a:r>
          <a:r>
            <a:rPr lang="en-US" sz="3300" kern="1200" dirty="0" err="1"/>
            <a:t>toplinu</a:t>
          </a:r>
          <a:r>
            <a:rPr lang="en-US" sz="3300" kern="1200" dirty="0"/>
            <a:t> za </a:t>
          </a:r>
          <a:r>
            <a:rPr lang="en-US" sz="3300" kern="1200" dirty="0" err="1"/>
            <a:t>stvaranje</a:t>
          </a:r>
          <a:r>
            <a:rPr lang="en-US" sz="3300" kern="1200" dirty="0"/>
            <a:t> pare </a:t>
          </a:r>
          <a:r>
            <a:rPr lang="en-US" sz="3300" kern="1200" dirty="0" err="1"/>
            <a:t>i</a:t>
          </a:r>
          <a:r>
            <a:rPr lang="en-US" sz="3300" kern="1200" dirty="0"/>
            <a:t> </a:t>
          </a:r>
          <a:r>
            <a:rPr lang="en-US" sz="3300" kern="1200" dirty="0" err="1"/>
            <a:t>pogon</a:t>
          </a:r>
          <a:r>
            <a:rPr lang="en-US" sz="3300" kern="1200" dirty="0"/>
            <a:t> </a:t>
          </a:r>
          <a:r>
            <a:rPr lang="en-US" sz="3300" kern="1200" dirty="0" err="1"/>
            <a:t>turbina</a:t>
          </a:r>
          <a:r>
            <a:rPr lang="en-US" sz="3300" kern="1200" dirty="0"/>
            <a:t>.</a:t>
          </a:r>
        </a:p>
      </dsp:txBody>
      <dsp:txXfrm>
        <a:off x="4748523" y="980400"/>
        <a:ext cx="3381034" cy="2099279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02294F-3920-4CA8-B959-EC5B115E66A3}">
      <dsp:nvSpPr>
        <dsp:cNvPr id="0" name=""/>
        <dsp:cNvSpPr/>
      </dsp:nvSpPr>
      <dsp:spPr>
        <a:xfrm>
          <a:off x="0" y="14552"/>
          <a:ext cx="8195871" cy="839474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l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500" kern="1200" dirty="0" err="1"/>
            <a:t>Održiv</a:t>
          </a:r>
          <a:r>
            <a:rPr lang="en-US" sz="3500" kern="1200" dirty="0"/>
            <a:t> </a:t>
          </a:r>
          <a:r>
            <a:rPr lang="en-US" sz="3500" kern="1200" dirty="0" err="1"/>
            <a:t>i</a:t>
          </a:r>
          <a:r>
            <a:rPr lang="en-US" sz="3500" kern="1200" dirty="0"/>
            <a:t> </a:t>
          </a:r>
          <a:r>
            <a:rPr lang="en-US" sz="3500" kern="1200" dirty="0" err="1"/>
            <a:t>čist</a:t>
          </a:r>
          <a:r>
            <a:rPr lang="en-US" sz="3500" kern="1200" dirty="0"/>
            <a:t> </a:t>
          </a:r>
          <a:r>
            <a:rPr lang="en-US" sz="3500" kern="1200" dirty="0" err="1"/>
            <a:t>izvor</a:t>
          </a:r>
          <a:r>
            <a:rPr lang="en-US" sz="3500" kern="1200" dirty="0"/>
            <a:t> </a:t>
          </a:r>
          <a:r>
            <a:rPr lang="en-US" sz="3500" kern="1200" dirty="0" err="1"/>
            <a:t>energije</a:t>
          </a:r>
          <a:endParaRPr lang="en-US" sz="3500" kern="1200" dirty="0"/>
        </a:p>
      </dsp:txBody>
      <dsp:txXfrm>
        <a:off x="40980" y="55532"/>
        <a:ext cx="8113911" cy="757514"/>
      </dsp:txXfrm>
    </dsp:sp>
    <dsp:sp modelId="{B82F36A0-5B49-4835-9769-6A1E91FD8516}">
      <dsp:nvSpPr>
        <dsp:cNvPr id="0" name=""/>
        <dsp:cNvSpPr/>
      </dsp:nvSpPr>
      <dsp:spPr>
        <a:xfrm>
          <a:off x="0" y="954827"/>
          <a:ext cx="8195871" cy="839474"/>
        </a:xfrm>
        <a:prstGeom prst="roundRect">
          <a:avLst/>
        </a:prstGeom>
        <a:solidFill>
          <a:schemeClr val="accent2">
            <a:hueOff val="1560506"/>
            <a:satOff val="-1946"/>
            <a:lumOff val="45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l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500" kern="1200" dirty="0" err="1"/>
            <a:t>Dugoročna</a:t>
          </a:r>
          <a:r>
            <a:rPr lang="en-US" sz="3500" kern="1200" dirty="0"/>
            <a:t> </a:t>
          </a:r>
          <a:r>
            <a:rPr lang="en-US" sz="3500" kern="1200" dirty="0" err="1"/>
            <a:t>ušteda</a:t>
          </a:r>
          <a:r>
            <a:rPr lang="en-US" sz="3500" kern="1200" dirty="0"/>
            <a:t> </a:t>
          </a:r>
          <a:r>
            <a:rPr lang="en-US" sz="3500" kern="1200" dirty="0" err="1"/>
            <a:t>na</a:t>
          </a:r>
          <a:r>
            <a:rPr lang="en-US" sz="3500" kern="1200" dirty="0"/>
            <a:t> </a:t>
          </a:r>
          <a:r>
            <a:rPr lang="en-US" sz="3500" kern="1200" dirty="0" err="1"/>
            <a:t>troškovima</a:t>
          </a:r>
          <a:endParaRPr lang="en-US" sz="3500" kern="1200" dirty="0"/>
        </a:p>
      </dsp:txBody>
      <dsp:txXfrm>
        <a:off x="40980" y="995807"/>
        <a:ext cx="8113911" cy="757514"/>
      </dsp:txXfrm>
    </dsp:sp>
    <dsp:sp modelId="{18A7B97B-294A-4931-987B-84AA47D85774}">
      <dsp:nvSpPr>
        <dsp:cNvPr id="0" name=""/>
        <dsp:cNvSpPr/>
      </dsp:nvSpPr>
      <dsp:spPr>
        <a:xfrm>
          <a:off x="0" y="1895102"/>
          <a:ext cx="8195871" cy="839474"/>
        </a:xfrm>
        <a:prstGeom prst="roundRect">
          <a:avLst/>
        </a:prstGeom>
        <a:solidFill>
          <a:schemeClr val="accent2">
            <a:hueOff val="3121013"/>
            <a:satOff val="-3893"/>
            <a:lumOff val="91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l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500" kern="1200" dirty="0"/>
            <a:t>Dugi </a:t>
          </a:r>
          <a:r>
            <a:rPr lang="en-US" sz="3500" kern="1200" dirty="0" err="1"/>
            <a:t>vijek</a:t>
          </a:r>
          <a:r>
            <a:rPr lang="en-US" sz="3500" kern="1200" dirty="0"/>
            <a:t> </a:t>
          </a:r>
          <a:r>
            <a:rPr lang="en-US" sz="3500" kern="1200" dirty="0" err="1"/>
            <a:t>trajanja</a:t>
          </a:r>
          <a:r>
            <a:rPr lang="en-US" sz="3500" kern="1200" dirty="0"/>
            <a:t> (25-30 </a:t>
          </a:r>
          <a:r>
            <a:rPr lang="en-US" sz="3500" kern="1200" dirty="0" err="1"/>
            <a:t>godina</a:t>
          </a:r>
          <a:r>
            <a:rPr lang="en-US" sz="3500" kern="1200" dirty="0"/>
            <a:t>)</a:t>
          </a:r>
        </a:p>
      </dsp:txBody>
      <dsp:txXfrm>
        <a:off x="40980" y="1936082"/>
        <a:ext cx="8113911" cy="757514"/>
      </dsp:txXfrm>
    </dsp:sp>
    <dsp:sp modelId="{5A8A46F5-35AE-4DC0-A018-1924E73F7142}">
      <dsp:nvSpPr>
        <dsp:cNvPr id="0" name=""/>
        <dsp:cNvSpPr/>
      </dsp:nvSpPr>
      <dsp:spPr>
        <a:xfrm>
          <a:off x="0" y="2835377"/>
          <a:ext cx="8195871" cy="839474"/>
        </a:xfrm>
        <a:prstGeom prst="roundRect">
          <a:avLst/>
        </a:prstGeom>
        <a:solidFill>
          <a:schemeClr val="accent2">
            <a:hueOff val="4681519"/>
            <a:satOff val="-5839"/>
            <a:lumOff val="137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l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500" kern="1200" dirty="0" err="1"/>
            <a:t>Smanjena</a:t>
          </a:r>
          <a:r>
            <a:rPr lang="en-US" sz="3500" kern="1200" dirty="0"/>
            <a:t> </a:t>
          </a:r>
          <a:r>
            <a:rPr lang="en-US" sz="3500" kern="1200" dirty="0" err="1"/>
            <a:t>ovisnost</a:t>
          </a:r>
          <a:r>
            <a:rPr lang="en-US" sz="3500" kern="1200" dirty="0"/>
            <a:t> o </a:t>
          </a:r>
          <a:r>
            <a:rPr lang="en-US" sz="3500" kern="1200" dirty="0" err="1"/>
            <a:t>fosilnim</a:t>
          </a:r>
          <a:r>
            <a:rPr lang="en-US" sz="3500" kern="1200" dirty="0"/>
            <a:t> </a:t>
          </a:r>
          <a:r>
            <a:rPr lang="en-US" sz="3500" kern="1200" dirty="0" err="1"/>
            <a:t>gorivima</a:t>
          </a:r>
          <a:endParaRPr lang="en-US" sz="3500" kern="1200" dirty="0"/>
        </a:p>
      </dsp:txBody>
      <dsp:txXfrm>
        <a:off x="40980" y="2876357"/>
        <a:ext cx="8113911" cy="757514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5B7B6C-F8DA-4CFD-BB2A-3922074F5B41}">
      <dsp:nvSpPr>
        <dsp:cNvPr id="0" name=""/>
        <dsp:cNvSpPr/>
      </dsp:nvSpPr>
      <dsp:spPr>
        <a:xfrm>
          <a:off x="0" y="402002"/>
          <a:ext cx="8195871" cy="1392299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l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500" kern="1200" dirty="0" err="1"/>
            <a:t>Globalna</a:t>
          </a:r>
          <a:r>
            <a:rPr lang="en-US" sz="3500" kern="1200" dirty="0"/>
            <a:t> </a:t>
          </a:r>
          <a:r>
            <a:rPr lang="en-US" sz="3500" kern="1200" dirty="0" err="1"/>
            <a:t>proizvodnja</a:t>
          </a:r>
          <a:r>
            <a:rPr lang="en-US" sz="3500" kern="1200" dirty="0"/>
            <a:t> </a:t>
          </a:r>
          <a:r>
            <a:rPr lang="en-US" sz="3500" kern="1200" dirty="0" err="1"/>
            <a:t>solarne</a:t>
          </a:r>
          <a:r>
            <a:rPr lang="en-US" sz="3500" kern="1200" dirty="0"/>
            <a:t> </a:t>
          </a:r>
          <a:r>
            <a:rPr lang="en-US" sz="3500" kern="1200" dirty="0" err="1"/>
            <a:t>energije</a:t>
          </a:r>
          <a:r>
            <a:rPr lang="en-US" sz="3500" kern="1200" dirty="0"/>
            <a:t> </a:t>
          </a:r>
          <a:r>
            <a:rPr lang="en-US" sz="3500" kern="1200" dirty="0" err="1"/>
            <a:t>rasla</a:t>
          </a:r>
          <a:r>
            <a:rPr lang="en-US" sz="3500" kern="1200" dirty="0"/>
            <a:t> &gt;20% </a:t>
          </a:r>
          <a:r>
            <a:rPr lang="en-US" sz="3500" kern="1200" dirty="0" err="1"/>
            <a:t>godišnje</a:t>
          </a:r>
          <a:r>
            <a:rPr lang="en-US" sz="3500" kern="1200" dirty="0"/>
            <a:t> u </a:t>
          </a:r>
          <a:r>
            <a:rPr lang="en-US" sz="3500" kern="1200" dirty="0" err="1"/>
            <a:t>zadnjem</a:t>
          </a:r>
          <a:r>
            <a:rPr lang="en-US" sz="3500" kern="1200" dirty="0"/>
            <a:t> </a:t>
          </a:r>
          <a:r>
            <a:rPr lang="en-US" sz="3500" kern="1200" dirty="0" err="1"/>
            <a:t>desetljeću</a:t>
          </a:r>
          <a:r>
            <a:rPr lang="en-US" sz="3500" kern="1200" dirty="0"/>
            <a:t>.</a:t>
          </a:r>
        </a:p>
      </dsp:txBody>
      <dsp:txXfrm>
        <a:off x="67966" y="469968"/>
        <a:ext cx="8059939" cy="1256367"/>
      </dsp:txXfrm>
    </dsp:sp>
    <dsp:sp modelId="{587213BA-7EFE-4A75-A80A-C9FE0E043EC8}">
      <dsp:nvSpPr>
        <dsp:cNvPr id="0" name=""/>
        <dsp:cNvSpPr/>
      </dsp:nvSpPr>
      <dsp:spPr>
        <a:xfrm>
          <a:off x="0" y="1895102"/>
          <a:ext cx="8195871" cy="1392299"/>
        </a:xfrm>
        <a:prstGeom prst="roundRect">
          <a:avLst/>
        </a:prstGeom>
        <a:solidFill>
          <a:schemeClr val="accent2">
            <a:hueOff val="4681519"/>
            <a:satOff val="-5839"/>
            <a:lumOff val="137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l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500" kern="1200" dirty="0" err="1"/>
            <a:t>Najveći</a:t>
          </a:r>
          <a:r>
            <a:rPr lang="en-US" sz="3500" kern="1200" dirty="0"/>
            <a:t> </a:t>
          </a:r>
          <a:r>
            <a:rPr lang="en-US" sz="3500" kern="1200" dirty="0" err="1"/>
            <a:t>proizvođači</a:t>
          </a:r>
          <a:r>
            <a:rPr lang="en-US" sz="3500" kern="1200" dirty="0"/>
            <a:t>: Kina, SAD, </a:t>
          </a:r>
          <a:r>
            <a:rPr lang="en-US" sz="3500" kern="1200" dirty="0" err="1"/>
            <a:t>Njemačka</a:t>
          </a:r>
          <a:endParaRPr lang="en-US" sz="3500" kern="1200" dirty="0"/>
        </a:p>
      </dsp:txBody>
      <dsp:txXfrm>
        <a:off x="67966" y="1963068"/>
        <a:ext cx="8059939" cy="1256367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BB13F87-BD5E-4109-8A83-35DBD1B5AA52}">
      <dsp:nvSpPr>
        <dsp:cNvPr id="0" name=""/>
        <dsp:cNvSpPr/>
      </dsp:nvSpPr>
      <dsp:spPr>
        <a:xfrm>
          <a:off x="1000" y="925849"/>
          <a:ext cx="3901842" cy="234110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marL="0" lvl="0" indent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300" kern="1200" dirty="0" err="1"/>
            <a:t>Solarne</a:t>
          </a:r>
          <a:r>
            <a:rPr lang="en-US" sz="3300" kern="1200" dirty="0"/>
            <a:t> </a:t>
          </a:r>
          <a:r>
            <a:rPr lang="en-US" sz="3300" kern="1200" dirty="0" err="1"/>
            <a:t>elektrane</a:t>
          </a:r>
          <a:r>
            <a:rPr lang="en-US" sz="3300" kern="1200" dirty="0"/>
            <a:t> </a:t>
          </a:r>
          <a:r>
            <a:rPr lang="en-US" sz="3300" kern="1200" dirty="0" err="1"/>
            <a:t>ključna</a:t>
          </a:r>
          <a:r>
            <a:rPr lang="en-US" sz="3300" kern="1200" dirty="0"/>
            <a:t> </a:t>
          </a:r>
          <a:r>
            <a:rPr lang="en-US" sz="3300" kern="1200" dirty="0" err="1"/>
            <a:t>su</a:t>
          </a:r>
          <a:r>
            <a:rPr lang="en-US" sz="3300" kern="1200" dirty="0"/>
            <a:t> </a:t>
          </a:r>
          <a:r>
            <a:rPr lang="en-US" sz="3300" kern="1200" dirty="0" err="1"/>
            <a:t>tehnologija</a:t>
          </a:r>
          <a:r>
            <a:rPr lang="en-US" sz="3300" kern="1200" dirty="0"/>
            <a:t> </a:t>
          </a:r>
          <a:r>
            <a:rPr lang="en-US" sz="3300" kern="1200" dirty="0" err="1"/>
            <a:t>energetske</a:t>
          </a:r>
          <a:r>
            <a:rPr lang="en-US" sz="3300" kern="1200" dirty="0"/>
            <a:t> </a:t>
          </a:r>
          <a:r>
            <a:rPr lang="en-US" sz="3300" kern="1200" dirty="0" err="1"/>
            <a:t>tranzicije</a:t>
          </a:r>
          <a:r>
            <a:rPr lang="en-US" sz="3300" kern="1200" dirty="0"/>
            <a:t>.</a:t>
          </a:r>
        </a:p>
      </dsp:txBody>
      <dsp:txXfrm>
        <a:off x="1000" y="925849"/>
        <a:ext cx="3901842" cy="2341105"/>
      </dsp:txXfrm>
    </dsp:sp>
    <dsp:sp modelId="{F3C43949-30D4-4CAE-9EFD-96F9CEE80636}">
      <dsp:nvSpPr>
        <dsp:cNvPr id="0" name=""/>
        <dsp:cNvSpPr/>
      </dsp:nvSpPr>
      <dsp:spPr>
        <a:xfrm>
          <a:off x="4293027" y="925849"/>
          <a:ext cx="3901842" cy="234110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marL="0" lvl="0" indent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300" kern="1200" dirty="0"/>
            <a:t> </a:t>
          </a:r>
          <a:r>
            <a:rPr lang="en-US" sz="3300" kern="1200" dirty="0" err="1"/>
            <a:t>Doprinos</a:t>
          </a:r>
          <a:r>
            <a:rPr lang="en-US" sz="3300" kern="1200" dirty="0"/>
            <a:t> </a:t>
          </a:r>
          <a:r>
            <a:rPr lang="en-US" sz="3300" kern="1200" dirty="0" err="1"/>
            <a:t>globalnoj</a:t>
          </a:r>
          <a:r>
            <a:rPr lang="en-US" sz="3300" kern="1200" dirty="0"/>
            <a:t> </a:t>
          </a:r>
          <a:r>
            <a:rPr lang="en-US" sz="3300" kern="1200" dirty="0" err="1"/>
            <a:t>borbi</a:t>
          </a:r>
          <a:r>
            <a:rPr lang="en-US" sz="3300" kern="1200" dirty="0"/>
            <a:t> </a:t>
          </a:r>
          <a:r>
            <a:rPr lang="en-US" sz="3300" kern="1200" dirty="0" err="1"/>
            <a:t>protiv</a:t>
          </a:r>
          <a:r>
            <a:rPr lang="en-US" sz="3300" kern="1200" dirty="0"/>
            <a:t> </a:t>
          </a:r>
          <a:r>
            <a:rPr lang="en-US" sz="3300" kern="1200" dirty="0" err="1"/>
            <a:t>klimatskih</a:t>
          </a:r>
          <a:r>
            <a:rPr lang="en-US" sz="3300" kern="1200" dirty="0"/>
            <a:t> </a:t>
          </a:r>
          <a:r>
            <a:rPr lang="en-US" sz="3300" kern="1200" dirty="0" err="1"/>
            <a:t>promjena</a:t>
          </a:r>
          <a:r>
            <a:rPr lang="en-US" sz="3300" kern="1200" dirty="0"/>
            <a:t>.</a:t>
          </a:r>
        </a:p>
      </dsp:txBody>
      <dsp:txXfrm>
        <a:off x="4293027" y="925849"/>
        <a:ext cx="3901842" cy="234110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LabelList">
  <dgm:title val="Icon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2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50"/>
          <dgm:constr type="h" for="des" forName="compNode" op="equ"/>
          <dgm:constr type="h" for="des" forName="textRect" op="equ"/>
        </dgm:constrLst>
      </dgm:if>
      <dgm:if name="Name5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6"/>
          <dgm:constr type="h" for="des" forName="compNode" op="equ"/>
          <dgm:constr type="h" for="des" forName="textRect" op="equ"/>
        </dgm:constrLst>
      </dgm:if>
      <dgm:else name="Name6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7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4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h" for="ch" forName="spaceRect" refType="h" fact="0.15"/>
          <dgm:constr type="w" for="ch" forName="spaceRect" refType="w"/>
          <dgm:constr type="l" for="ch" forName="spaceRect"/>
          <dgm:constr type="t" for="ch" forName="spaceRect" refType="b" refFor="ch" refForName="icon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8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4.svg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4.svg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4.svg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3.sv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2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4/2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80755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4/2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09279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4/2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22237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ess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">
            <a:extLst>
              <a:ext uri="{FF2B5EF4-FFF2-40B4-BE49-F238E27FC236}">
                <a16:creationId xmlns:a16="http://schemas.microsoft.com/office/drawing/2014/main" id="{DE89EDF3-6591-5B1A-CD1F-6369A64261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9569" y="2245659"/>
            <a:ext cx="4212431" cy="10563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250" b="0" i="0">
                <a:solidFill>
                  <a:schemeClr val="accent1"/>
                </a:solidFill>
                <a:latin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16867C0-5332-AE90-6140-EE0C9C14E73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9569" y="512763"/>
            <a:ext cx="8424863" cy="1732896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80000"/>
              </a:lnSpc>
              <a:defRPr sz="5250"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/>
              <a:t>Mastertitelformat </a:t>
            </a:r>
            <a:br>
              <a:rPr lang="de-DE"/>
            </a:br>
            <a:r>
              <a:rPr lang="de-DE"/>
              <a:t>bearbeiten</a:t>
            </a:r>
          </a:p>
        </p:txBody>
      </p:sp>
      <p:pic>
        <p:nvPicPr>
          <p:cNvPr id="4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8DBD0A4C-EFB4-6856-EBDF-A107B57D3B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009000" y="0"/>
            <a:ext cx="135000" cy="180000"/>
          </a:xfrm>
          <a:prstGeom prst="rect">
            <a:avLst/>
          </a:prstGeom>
        </p:spPr>
      </p:pic>
      <p:pic>
        <p:nvPicPr>
          <p:cNvPr id="8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74359A26-92F9-701E-A601-E6AD22F61F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009000" y="0"/>
            <a:ext cx="135000" cy="180000"/>
          </a:xfrm>
          <a:prstGeom prst="rect">
            <a:avLst/>
          </a:prstGeom>
        </p:spPr>
      </p:pic>
      <p:sp>
        <p:nvSpPr>
          <p:cNvPr id="18" name="E.ON Logo">
            <a:extLst>
              <a:ext uri="{FF2B5EF4-FFF2-40B4-BE49-F238E27FC236}">
                <a16:creationId xmlns:a16="http://schemas.microsoft.com/office/drawing/2014/main" id="{9F1F22E5-C4EF-53C3-8ADA-A36265609262}"/>
              </a:ext>
            </a:extLst>
          </p:cNvPr>
          <p:cNvSpPr/>
          <p:nvPr userDrawn="1"/>
        </p:nvSpPr>
        <p:spPr>
          <a:xfrm>
            <a:off x="7299020" y="5799031"/>
            <a:ext cx="1485412" cy="546206"/>
          </a:xfrm>
          <a:custGeom>
            <a:avLst/>
            <a:gdLst>
              <a:gd name="connsiteX0" fmla="*/ 1202810 w 1761324"/>
              <a:gd name="connsiteY0" fmla="*/ 180152 h 485747"/>
              <a:gd name="connsiteX1" fmla="*/ 1141362 w 1761324"/>
              <a:gd name="connsiteY1" fmla="*/ 352260 h 485747"/>
              <a:gd name="connsiteX2" fmla="*/ 957018 w 1761324"/>
              <a:gd name="connsiteY2" fmla="*/ 475637 h 485747"/>
              <a:gd name="connsiteX3" fmla="*/ 731528 w 1761324"/>
              <a:gd name="connsiteY3" fmla="*/ 367812 h 485747"/>
              <a:gd name="connsiteX4" fmla="*/ 793529 w 1761324"/>
              <a:gd name="connsiteY4" fmla="*/ 213329 h 485747"/>
              <a:gd name="connsiteX5" fmla="*/ 1135331 w 1761324"/>
              <a:gd name="connsiteY5" fmla="*/ 103429 h 485747"/>
              <a:gd name="connsiteX6" fmla="*/ 1202810 w 1761324"/>
              <a:gd name="connsiteY6" fmla="*/ 180151 h 485747"/>
              <a:gd name="connsiteX7" fmla="*/ 1202810 w 1761324"/>
              <a:gd name="connsiteY7" fmla="*/ 180152 h 485747"/>
              <a:gd name="connsiteX8" fmla="*/ 994873 w 1761324"/>
              <a:gd name="connsiteY8" fmla="*/ 185336 h 485747"/>
              <a:gd name="connsiteX9" fmla="*/ 911486 w 1761324"/>
              <a:gd name="connsiteY9" fmla="*/ 314417 h 485747"/>
              <a:gd name="connsiteX10" fmla="*/ 920810 w 1761324"/>
              <a:gd name="connsiteY10" fmla="*/ 388547 h 485747"/>
              <a:gd name="connsiteX11" fmla="*/ 1017374 w 1761324"/>
              <a:gd name="connsiteY11" fmla="*/ 270871 h 485747"/>
              <a:gd name="connsiteX12" fmla="*/ 1027243 w 1761324"/>
              <a:gd name="connsiteY12" fmla="*/ 198814 h 485747"/>
              <a:gd name="connsiteX13" fmla="*/ 994873 w 1761324"/>
              <a:gd name="connsiteY13" fmla="*/ 185337 h 485747"/>
              <a:gd name="connsiteX14" fmla="*/ 994873 w 1761324"/>
              <a:gd name="connsiteY14" fmla="*/ 185336 h 485747"/>
              <a:gd name="connsiteX15" fmla="*/ 556517 w 1761324"/>
              <a:gd name="connsiteY15" fmla="*/ 188965 h 485747"/>
              <a:gd name="connsiteX16" fmla="*/ 317310 w 1761324"/>
              <a:gd name="connsiteY16" fmla="*/ 319601 h 485747"/>
              <a:gd name="connsiteX17" fmla="*/ 173567 w 1761324"/>
              <a:gd name="connsiteY17" fmla="*/ 316492 h 485747"/>
              <a:gd name="connsiteX18" fmla="*/ 220751 w 1761324"/>
              <a:gd name="connsiteY18" fmla="*/ 392177 h 485747"/>
              <a:gd name="connsiteX19" fmla="*/ 368883 w 1761324"/>
              <a:gd name="connsiteY19" fmla="*/ 371439 h 485747"/>
              <a:gd name="connsiteX20" fmla="*/ 536766 w 1761324"/>
              <a:gd name="connsiteY20" fmla="*/ 417060 h 485747"/>
              <a:gd name="connsiteX21" fmla="*/ 397410 w 1761324"/>
              <a:gd name="connsiteY21" fmla="*/ 478231 h 485747"/>
              <a:gd name="connsiteX22" fmla="*/ 22692 w 1761324"/>
              <a:gd name="connsiteY22" fmla="*/ 223697 h 485747"/>
              <a:gd name="connsiteX23" fmla="*/ 402897 w 1761324"/>
              <a:gd name="connsiteY23" fmla="*/ 5453 h 485747"/>
              <a:gd name="connsiteX24" fmla="*/ 441303 w 1761324"/>
              <a:gd name="connsiteY24" fmla="*/ 269 h 485747"/>
              <a:gd name="connsiteX25" fmla="*/ 556517 w 1761324"/>
              <a:gd name="connsiteY25" fmla="*/ 188966 h 485747"/>
              <a:gd name="connsiteX26" fmla="*/ 556517 w 1761324"/>
              <a:gd name="connsiteY26" fmla="*/ 188965 h 485747"/>
              <a:gd name="connsiteX27" fmla="*/ 413323 w 1761324"/>
              <a:gd name="connsiteY27" fmla="*/ 177560 h 485747"/>
              <a:gd name="connsiteX28" fmla="*/ 409481 w 1761324"/>
              <a:gd name="connsiteY28" fmla="*/ 138680 h 485747"/>
              <a:gd name="connsiteX29" fmla="*/ 217459 w 1761324"/>
              <a:gd name="connsiteY29" fmla="*/ 221624 h 485747"/>
              <a:gd name="connsiteX30" fmla="*/ 220202 w 1761324"/>
              <a:gd name="connsiteY30" fmla="*/ 226290 h 485747"/>
              <a:gd name="connsiteX31" fmla="*/ 377660 w 1761324"/>
              <a:gd name="connsiteY31" fmla="*/ 225771 h 485747"/>
              <a:gd name="connsiteX32" fmla="*/ 413323 w 1761324"/>
              <a:gd name="connsiteY32" fmla="*/ 177560 h 485747"/>
              <a:gd name="connsiteX33" fmla="*/ 413323 w 1761324"/>
              <a:gd name="connsiteY33" fmla="*/ 177560 h 485747"/>
              <a:gd name="connsiteX34" fmla="*/ 717816 w 1761324"/>
              <a:gd name="connsiteY34" fmla="*/ 250654 h 485747"/>
              <a:gd name="connsiteX35" fmla="*/ 684348 w 1761324"/>
              <a:gd name="connsiteY35" fmla="*/ 320118 h 485747"/>
              <a:gd name="connsiteX36" fmla="*/ 586143 w 1761324"/>
              <a:gd name="connsiteY36" fmla="*/ 286942 h 485747"/>
              <a:gd name="connsiteX37" fmla="*/ 696419 w 1761324"/>
              <a:gd name="connsiteY37" fmla="*/ 224216 h 485747"/>
              <a:gd name="connsiteX38" fmla="*/ 717816 w 1761324"/>
              <a:gd name="connsiteY38" fmla="*/ 250654 h 485747"/>
              <a:gd name="connsiteX39" fmla="*/ 717816 w 1761324"/>
              <a:gd name="connsiteY39" fmla="*/ 250654 h 485747"/>
              <a:gd name="connsiteX40" fmla="*/ 1761317 w 1761324"/>
              <a:gd name="connsiteY40" fmla="*/ 180670 h 485747"/>
              <a:gd name="connsiteX41" fmla="*/ 1754740 w 1761324"/>
              <a:gd name="connsiteY41" fmla="*/ 224216 h 485747"/>
              <a:gd name="connsiteX42" fmla="*/ 1674638 w 1761324"/>
              <a:gd name="connsiteY42" fmla="*/ 465271 h 485747"/>
              <a:gd name="connsiteX43" fmla="*/ 1566550 w 1761324"/>
              <a:gd name="connsiteY43" fmla="*/ 460605 h 485747"/>
              <a:gd name="connsiteX44" fmla="*/ 1592889 w 1761324"/>
              <a:gd name="connsiteY44" fmla="*/ 363664 h 485747"/>
              <a:gd name="connsiteX45" fmla="*/ 1608797 w 1761324"/>
              <a:gd name="connsiteY45" fmla="*/ 227846 h 485747"/>
              <a:gd name="connsiteX46" fmla="*/ 1573689 w 1761324"/>
              <a:gd name="connsiteY46" fmla="*/ 232511 h 485747"/>
              <a:gd name="connsiteX47" fmla="*/ 1288943 w 1761324"/>
              <a:gd name="connsiteY47" fmla="*/ 463715 h 485747"/>
              <a:gd name="connsiteX48" fmla="*/ 1190194 w 1761324"/>
              <a:gd name="connsiteY48" fmla="*/ 459569 h 485747"/>
              <a:gd name="connsiteX49" fmla="*/ 1189094 w 1761324"/>
              <a:gd name="connsiteY49" fmla="*/ 446608 h 485747"/>
              <a:gd name="connsiteX50" fmla="*/ 1305951 w 1761324"/>
              <a:gd name="connsiteY50" fmla="*/ 131941 h 485747"/>
              <a:gd name="connsiteX51" fmla="*/ 1407454 w 1761324"/>
              <a:gd name="connsiteY51" fmla="*/ 127795 h 485747"/>
              <a:gd name="connsiteX52" fmla="*/ 1439816 w 1761324"/>
              <a:gd name="connsiteY52" fmla="*/ 188966 h 485747"/>
              <a:gd name="connsiteX53" fmla="*/ 1758578 w 1761324"/>
              <a:gd name="connsiteY53" fmla="*/ 157863 h 485747"/>
              <a:gd name="connsiteX54" fmla="*/ 1761325 w 1761324"/>
              <a:gd name="connsiteY54" fmla="*/ 180670 h 485747"/>
              <a:gd name="connsiteX55" fmla="*/ 1761317 w 1761324"/>
              <a:gd name="connsiteY55" fmla="*/ 180670 h 485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1761324" h="485747">
                <a:moveTo>
                  <a:pt x="1202810" y="180152"/>
                </a:moveTo>
                <a:cubicBezTo>
                  <a:pt x="1202810" y="234243"/>
                  <a:pt x="1167140" y="305309"/>
                  <a:pt x="1141362" y="352260"/>
                </a:cubicBezTo>
                <a:cubicBezTo>
                  <a:pt x="1100865" y="426143"/>
                  <a:pt x="1046092" y="470415"/>
                  <a:pt x="957018" y="475637"/>
                </a:cubicBezTo>
                <a:cubicBezTo>
                  <a:pt x="878293" y="480251"/>
                  <a:pt x="700356" y="493166"/>
                  <a:pt x="731528" y="367812"/>
                </a:cubicBezTo>
                <a:cubicBezTo>
                  <a:pt x="745049" y="313545"/>
                  <a:pt x="775084" y="265733"/>
                  <a:pt x="793529" y="213329"/>
                </a:cubicBezTo>
                <a:cubicBezTo>
                  <a:pt x="855493" y="96504"/>
                  <a:pt x="1011440" y="74234"/>
                  <a:pt x="1135331" y="103429"/>
                </a:cubicBezTo>
                <a:cubicBezTo>
                  <a:pt x="1177264" y="117845"/>
                  <a:pt x="1199585" y="137137"/>
                  <a:pt x="1202810" y="180151"/>
                </a:cubicBezTo>
                <a:lnTo>
                  <a:pt x="1202810" y="180152"/>
                </a:lnTo>
                <a:close/>
                <a:moveTo>
                  <a:pt x="994873" y="185336"/>
                </a:moveTo>
                <a:cubicBezTo>
                  <a:pt x="931196" y="185336"/>
                  <a:pt x="923436" y="269327"/>
                  <a:pt x="911486" y="314417"/>
                </a:cubicBezTo>
                <a:cubicBezTo>
                  <a:pt x="908478" y="331458"/>
                  <a:pt x="888290" y="388547"/>
                  <a:pt x="920810" y="388547"/>
                </a:cubicBezTo>
                <a:cubicBezTo>
                  <a:pt x="997372" y="403097"/>
                  <a:pt x="1004496" y="323748"/>
                  <a:pt x="1017374" y="270871"/>
                </a:cubicBezTo>
                <a:cubicBezTo>
                  <a:pt x="1022103" y="251418"/>
                  <a:pt x="1031494" y="218781"/>
                  <a:pt x="1027243" y="198814"/>
                </a:cubicBezTo>
                <a:cubicBezTo>
                  <a:pt x="1027243" y="183962"/>
                  <a:pt x="1005327" y="186329"/>
                  <a:pt x="994873" y="185337"/>
                </a:cubicBezTo>
                <a:lnTo>
                  <a:pt x="994873" y="185336"/>
                </a:lnTo>
                <a:close/>
                <a:moveTo>
                  <a:pt x="556517" y="188965"/>
                </a:moveTo>
                <a:cubicBezTo>
                  <a:pt x="548660" y="331215"/>
                  <a:pt x="442921" y="320145"/>
                  <a:pt x="317310" y="319601"/>
                </a:cubicBezTo>
                <a:cubicBezTo>
                  <a:pt x="269574" y="319415"/>
                  <a:pt x="220757" y="316492"/>
                  <a:pt x="173567" y="316492"/>
                </a:cubicBezTo>
                <a:cubicBezTo>
                  <a:pt x="156154" y="333179"/>
                  <a:pt x="206568" y="383798"/>
                  <a:pt x="220751" y="392177"/>
                </a:cubicBezTo>
                <a:cubicBezTo>
                  <a:pt x="269164" y="420674"/>
                  <a:pt x="329910" y="408438"/>
                  <a:pt x="368883" y="371439"/>
                </a:cubicBezTo>
                <a:cubicBezTo>
                  <a:pt x="389821" y="371439"/>
                  <a:pt x="614559" y="343684"/>
                  <a:pt x="536766" y="417060"/>
                </a:cubicBezTo>
                <a:cubicBezTo>
                  <a:pt x="499114" y="448714"/>
                  <a:pt x="445844" y="467411"/>
                  <a:pt x="397410" y="478231"/>
                </a:cubicBezTo>
                <a:cubicBezTo>
                  <a:pt x="243304" y="512666"/>
                  <a:pt x="-89584" y="428957"/>
                  <a:pt x="22692" y="223697"/>
                </a:cubicBezTo>
                <a:cubicBezTo>
                  <a:pt x="99444" y="104339"/>
                  <a:pt x="265683" y="39072"/>
                  <a:pt x="402897" y="5453"/>
                </a:cubicBezTo>
                <a:cubicBezTo>
                  <a:pt x="415674" y="3038"/>
                  <a:pt x="428296" y="1180"/>
                  <a:pt x="441303" y="269"/>
                </a:cubicBezTo>
                <a:cubicBezTo>
                  <a:pt x="538928" y="-6619"/>
                  <a:pt x="556517" y="120689"/>
                  <a:pt x="556517" y="188966"/>
                </a:cubicBezTo>
                <a:lnTo>
                  <a:pt x="556517" y="188965"/>
                </a:lnTo>
                <a:close/>
                <a:moveTo>
                  <a:pt x="413323" y="177560"/>
                </a:moveTo>
                <a:cubicBezTo>
                  <a:pt x="413323" y="164695"/>
                  <a:pt x="413880" y="151090"/>
                  <a:pt x="409481" y="138680"/>
                </a:cubicBezTo>
                <a:cubicBezTo>
                  <a:pt x="394414" y="81319"/>
                  <a:pt x="236313" y="203809"/>
                  <a:pt x="217459" y="221624"/>
                </a:cubicBezTo>
                <a:cubicBezTo>
                  <a:pt x="215092" y="226128"/>
                  <a:pt x="216881" y="224732"/>
                  <a:pt x="220202" y="226290"/>
                </a:cubicBezTo>
                <a:cubicBezTo>
                  <a:pt x="272671" y="226290"/>
                  <a:pt x="325263" y="225771"/>
                  <a:pt x="377660" y="225771"/>
                </a:cubicBezTo>
                <a:cubicBezTo>
                  <a:pt x="412167" y="220389"/>
                  <a:pt x="413323" y="210466"/>
                  <a:pt x="413323" y="177560"/>
                </a:cubicBezTo>
                <a:lnTo>
                  <a:pt x="413323" y="177560"/>
                </a:lnTo>
                <a:close/>
                <a:moveTo>
                  <a:pt x="717816" y="250654"/>
                </a:moveTo>
                <a:cubicBezTo>
                  <a:pt x="705920" y="273291"/>
                  <a:pt x="708578" y="302987"/>
                  <a:pt x="684348" y="320118"/>
                </a:cubicBezTo>
                <a:cubicBezTo>
                  <a:pt x="651212" y="343544"/>
                  <a:pt x="567745" y="343608"/>
                  <a:pt x="586143" y="286942"/>
                </a:cubicBezTo>
                <a:cubicBezTo>
                  <a:pt x="603559" y="233072"/>
                  <a:pt x="636487" y="210160"/>
                  <a:pt x="696419" y="224216"/>
                </a:cubicBezTo>
                <a:cubicBezTo>
                  <a:pt x="711038" y="228842"/>
                  <a:pt x="714490" y="237992"/>
                  <a:pt x="717816" y="250654"/>
                </a:cubicBezTo>
                <a:lnTo>
                  <a:pt x="717816" y="250654"/>
                </a:lnTo>
                <a:close/>
                <a:moveTo>
                  <a:pt x="1761317" y="180670"/>
                </a:moveTo>
                <a:cubicBezTo>
                  <a:pt x="1761317" y="195172"/>
                  <a:pt x="1758099" y="210123"/>
                  <a:pt x="1754740" y="224216"/>
                </a:cubicBezTo>
                <a:cubicBezTo>
                  <a:pt x="1734933" y="306930"/>
                  <a:pt x="1702997" y="385622"/>
                  <a:pt x="1674638" y="465271"/>
                </a:cubicBezTo>
                <a:cubicBezTo>
                  <a:pt x="1648613" y="489859"/>
                  <a:pt x="1594513" y="476470"/>
                  <a:pt x="1566550" y="460605"/>
                </a:cubicBezTo>
                <a:cubicBezTo>
                  <a:pt x="1552565" y="447389"/>
                  <a:pt x="1587337" y="379960"/>
                  <a:pt x="1592889" y="363664"/>
                </a:cubicBezTo>
                <a:cubicBezTo>
                  <a:pt x="1601412" y="338636"/>
                  <a:pt x="1647962" y="246346"/>
                  <a:pt x="1608797" y="227846"/>
                </a:cubicBezTo>
                <a:cubicBezTo>
                  <a:pt x="1596204" y="227846"/>
                  <a:pt x="1586185" y="229404"/>
                  <a:pt x="1573689" y="232511"/>
                </a:cubicBezTo>
                <a:cubicBezTo>
                  <a:pt x="1456495" y="271279"/>
                  <a:pt x="1373310" y="383999"/>
                  <a:pt x="1288943" y="463715"/>
                </a:cubicBezTo>
                <a:cubicBezTo>
                  <a:pt x="1252375" y="481114"/>
                  <a:pt x="1226118" y="476662"/>
                  <a:pt x="1190194" y="459569"/>
                </a:cubicBezTo>
                <a:cubicBezTo>
                  <a:pt x="1186624" y="456202"/>
                  <a:pt x="1188353" y="450850"/>
                  <a:pt x="1189094" y="446608"/>
                </a:cubicBezTo>
                <a:cubicBezTo>
                  <a:pt x="1216278" y="339317"/>
                  <a:pt x="1259274" y="232942"/>
                  <a:pt x="1305951" y="131941"/>
                </a:cubicBezTo>
                <a:cubicBezTo>
                  <a:pt x="1313291" y="111320"/>
                  <a:pt x="1388747" y="118961"/>
                  <a:pt x="1407454" y="127795"/>
                </a:cubicBezTo>
                <a:cubicBezTo>
                  <a:pt x="1407454" y="150635"/>
                  <a:pt x="1404917" y="188966"/>
                  <a:pt x="1439816" y="188966"/>
                </a:cubicBezTo>
                <a:cubicBezTo>
                  <a:pt x="1518130" y="180810"/>
                  <a:pt x="1710008" y="20195"/>
                  <a:pt x="1758578" y="157863"/>
                </a:cubicBezTo>
                <a:cubicBezTo>
                  <a:pt x="1759955" y="165636"/>
                  <a:pt x="1761325" y="172682"/>
                  <a:pt x="1761325" y="180670"/>
                </a:cubicBezTo>
                <a:lnTo>
                  <a:pt x="1761317" y="180670"/>
                </a:lnTo>
                <a:close/>
              </a:path>
            </a:pathLst>
          </a:custGeom>
          <a:solidFill>
            <a:srgbClr val="F21C0A"/>
          </a:solidFill>
          <a:ln w="7461" cap="flat">
            <a:noFill/>
            <a:prstDash val="solid"/>
            <a:miter/>
          </a:ln>
        </p:spPr>
        <p:txBody>
          <a:bodyPr rtlCol="0" anchor="ctr"/>
          <a:lstStyle/>
          <a:p>
            <a:endParaRPr lang="de-DE" sz="135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59D5AD2-71A5-4E3D-49E2-BB3180F015B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359532" y="6050859"/>
            <a:ext cx="4212431" cy="360000"/>
          </a:xfrm>
        </p:spPr>
        <p:txBody>
          <a:bodyPr anchor="b"/>
          <a:lstStyle>
            <a:lvl1pPr algn="l">
              <a:lnSpc>
                <a:spcPct val="100000"/>
              </a:lnSpc>
              <a:defRPr sz="1500" b="1">
                <a:solidFill>
                  <a:schemeClr val="accent1"/>
                </a:solidFill>
              </a:defRPr>
            </a:lvl1pPr>
          </a:lstStyle>
          <a:p>
            <a:fld id="{65596E68-C9F0-4FD1-A245-62B251F223A2}" type="datetime1">
              <a:rPr lang="de-DE" smtClean="0"/>
              <a:t>29.04.20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738867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bi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5">
            <a:extLst>
              <a:ext uri="{FF2B5EF4-FFF2-40B4-BE49-F238E27FC236}">
                <a16:creationId xmlns:a16="http://schemas.microsoft.com/office/drawing/2014/main" id="{2E56A6B5-6638-1EBD-C8EC-8B45B057CC9C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9144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13" name="Foliennummernplatzhalter 6">
            <a:extLst>
              <a:ext uri="{FF2B5EF4-FFF2-40B4-BE49-F238E27FC236}">
                <a16:creationId xmlns:a16="http://schemas.microsoft.com/office/drawing/2014/main" id="{F8125B0E-A430-BE60-8185-DF418040DB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9144000" y="6858000"/>
            <a:ext cx="0" cy="0"/>
          </a:xfrm>
        </p:spPr>
        <p:txBody>
          <a:bodyPr anchor="b"/>
          <a:lstStyle>
            <a:lvl1pPr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5" name="Image">
            <a:extLst>
              <a:ext uri="{FF2B5EF4-FFF2-40B4-BE49-F238E27FC236}">
                <a16:creationId xmlns:a16="http://schemas.microsoft.com/office/drawing/2014/main" id="{2CA009F2-CDFA-1DA7-02B3-838E5290068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6858000"/>
          </a:xfrm>
          <a:solidFill>
            <a:schemeClr val="bg1">
              <a:lumMod val="75000"/>
            </a:schemeClr>
          </a:solidFill>
        </p:spPr>
        <p:txBody>
          <a:bodyPr tIns="0" anchor="ctr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DE89EDF3-6591-5B1A-CD1F-6369A64261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9569" y="2245659"/>
            <a:ext cx="4212431" cy="10563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250" b="0" i="0">
                <a:solidFill>
                  <a:schemeClr val="bg1"/>
                </a:solidFill>
                <a:latin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16867C0-5332-AE90-6140-EE0C9C14E73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9569" y="512763"/>
            <a:ext cx="8424863" cy="1732896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80000"/>
              </a:lnSpc>
              <a:defRPr sz="525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/>
              <a:t>Mastertitelformat </a:t>
            </a:r>
            <a:br>
              <a:rPr lang="de-DE"/>
            </a:br>
            <a:r>
              <a:rPr lang="de-DE"/>
              <a:t>bearbeiten</a:t>
            </a:r>
          </a:p>
        </p:txBody>
      </p:sp>
      <p:pic>
        <p:nvPicPr>
          <p:cNvPr id="4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8DBD0A4C-EFB4-6856-EBDF-A107B57D3B3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009000" y="0"/>
            <a:ext cx="135000" cy="180000"/>
          </a:xfrm>
          <a:prstGeom prst="rect">
            <a:avLst/>
          </a:prstGeom>
        </p:spPr>
      </p:pic>
      <p:pic>
        <p:nvPicPr>
          <p:cNvPr id="8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74359A26-92F9-701E-A601-E6AD22F61F4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009000" y="0"/>
            <a:ext cx="135000" cy="180000"/>
          </a:xfrm>
          <a:prstGeom prst="rect">
            <a:avLst/>
          </a:prstGeom>
        </p:spPr>
      </p:pic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3ECB2BC4-109C-E1A1-A355-551DE1C33D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99019" y="5799032"/>
            <a:ext cx="1485413" cy="546206"/>
          </a:xfrm>
          <a:custGeom>
            <a:avLst/>
            <a:gdLst>
              <a:gd name="connsiteX0" fmla="*/ 738049 w 1980551"/>
              <a:gd name="connsiteY0" fmla="*/ 247957 h 546206"/>
              <a:gd name="connsiteX1" fmla="*/ 783101 w 1980551"/>
              <a:gd name="connsiteY1" fmla="*/ 252123 h 546206"/>
              <a:gd name="connsiteX2" fmla="*/ 807161 w 1980551"/>
              <a:gd name="connsiteY2" fmla="*/ 281851 h 546206"/>
              <a:gd name="connsiteX3" fmla="*/ 769527 w 1980551"/>
              <a:gd name="connsiteY3" fmla="*/ 359961 h 546206"/>
              <a:gd name="connsiteX4" fmla="*/ 659099 w 1980551"/>
              <a:gd name="connsiteY4" fmla="*/ 322656 h 546206"/>
              <a:gd name="connsiteX5" fmla="*/ 738049 w 1980551"/>
              <a:gd name="connsiteY5" fmla="*/ 247957 h 546206"/>
              <a:gd name="connsiteX6" fmla="*/ 625785 w 1980551"/>
              <a:gd name="connsiteY6" fmla="*/ 212484 h 546206"/>
              <a:gd name="connsiteX7" fmla="*/ 625785 w 1980551"/>
              <a:gd name="connsiteY7" fmla="*/ 212485 h 546206"/>
              <a:gd name="connsiteX8" fmla="*/ 625785 w 1980551"/>
              <a:gd name="connsiteY8" fmla="*/ 212484 h 546206"/>
              <a:gd name="connsiteX9" fmla="*/ 1118702 w 1980551"/>
              <a:gd name="connsiteY9" fmla="*/ 208403 h 546206"/>
              <a:gd name="connsiteX10" fmla="*/ 1024936 w 1980551"/>
              <a:gd name="connsiteY10" fmla="*/ 353550 h 546206"/>
              <a:gd name="connsiteX11" fmla="*/ 1035421 w 1980551"/>
              <a:gd name="connsiteY11" fmla="*/ 436907 h 546206"/>
              <a:gd name="connsiteX12" fmla="*/ 1144003 w 1980551"/>
              <a:gd name="connsiteY12" fmla="*/ 304584 h 546206"/>
              <a:gd name="connsiteX13" fmla="*/ 1155101 w 1980551"/>
              <a:gd name="connsiteY13" fmla="*/ 223559 h 546206"/>
              <a:gd name="connsiteX14" fmla="*/ 1118702 w 1980551"/>
              <a:gd name="connsiteY14" fmla="*/ 208404 h 546206"/>
              <a:gd name="connsiteX15" fmla="*/ 422544 w 1980551"/>
              <a:gd name="connsiteY15" fmla="*/ 140485 h 546206"/>
              <a:gd name="connsiteX16" fmla="*/ 244526 w 1980551"/>
              <a:gd name="connsiteY16" fmla="*/ 249208 h 546206"/>
              <a:gd name="connsiteX17" fmla="*/ 247611 w 1980551"/>
              <a:gd name="connsiteY17" fmla="*/ 254455 h 546206"/>
              <a:gd name="connsiteX18" fmla="*/ 424667 w 1980551"/>
              <a:gd name="connsiteY18" fmla="*/ 253871 h 546206"/>
              <a:gd name="connsiteX19" fmla="*/ 464769 w 1980551"/>
              <a:gd name="connsiteY19" fmla="*/ 199659 h 546206"/>
              <a:gd name="connsiteX20" fmla="*/ 460448 w 1980551"/>
              <a:gd name="connsiteY20" fmla="*/ 155940 h 546206"/>
              <a:gd name="connsiteX21" fmla="*/ 422544 w 1980551"/>
              <a:gd name="connsiteY21" fmla="*/ 140485 h 546206"/>
              <a:gd name="connsiteX22" fmla="*/ 1910799 w 1980551"/>
              <a:gd name="connsiteY22" fmla="*/ 116378 h 546206"/>
              <a:gd name="connsiteX23" fmla="*/ 1977462 w 1980551"/>
              <a:gd name="connsiteY23" fmla="*/ 177511 h 546206"/>
              <a:gd name="connsiteX24" fmla="*/ 1980551 w 1980551"/>
              <a:gd name="connsiteY24" fmla="*/ 203157 h 546206"/>
              <a:gd name="connsiteX25" fmla="*/ 1980542 w 1980551"/>
              <a:gd name="connsiteY25" fmla="*/ 203157 h 546206"/>
              <a:gd name="connsiteX26" fmla="*/ 1973147 w 1980551"/>
              <a:gd name="connsiteY26" fmla="*/ 252123 h 546206"/>
              <a:gd name="connsiteX27" fmla="*/ 1883075 w 1980551"/>
              <a:gd name="connsiteY27" fmla="*/ 523181 h 546206"/>
              <a:gd name="connsiteX28" fmla="*/ 1761533 w 1980551"/>
              <a:gd name="connsiteY28" fmla="*/ 517934 h 546206"/>
              <a:gd name="connsiteX29" fmla="*/ 1791151 w 1980551"/>
              <a:gd name="connsiteY29" fmla="*/ 408927 h 546206"/>
              <a:gd name="connsiteX30" fmla="*/ 1809039 w 1980551"/>
              <a:gd name="connsiteY30" fmla="*/ 256204 h 546206"/>
              <a:gd name="connsiteX31" fmla="*/ 1769561 w 1980551"/>
              <a:gd name="connsiteY31" fmla="*/ 261450 h 546206"/>
              <a:gd name="connsiteX32" fmla="*/ 1449374 w 1980551"/>
              <a:gd name="connsiteY32" fmla="*/ 521431 h 546206"/>
              <a:gd name="connsiteX33" fmla="*/ 1338334 w 1980551"/>
              <a:gd name="connsiteY33" fmla="*/ 516769 h 546206"/>
              <a:gd name="connsiteX34" fmla="*/ 1337097 w 1980551"/>
              <a:gd name="connsiteY34" fmla="*/ 502195 h 546206"/>
              <a:gd name="connsiteX35" fmla="*/ 1468499 w 1980551"/>
              <a:gd name="connsiteY35" fmla="*/ 148362 h 546206"/>
              <a:gd name="connsiteX36" fmla="*/ 1582635 w 1980551"/>
              <a:gd name="connsiteY36" fmla="*/ 143700 h 546206"/>
              <a:gd name="connsiteX37" fmla="*/ 1619025 w 1980551"/>
              <a:gd name="connsiteY37" fmla="*/ 212485 h 546206"/>
              <a:gd name="connsiteX38" fmla="*/ 1910799 w 1980551"/>
              <a:gd name="connsiteY38" fmla="*/ 116378 h 546206"/>
              <a:gd name="connsiteX39" fmla="*/ 1167615 w 1980551"/>
              <a:gd name="connsiteY39" fmla="*/ 103288 h 546206"/>
              <a:gd name="connsiteX40" fmla="*/ 1276642 w 1980551"/>
              <a:gd name="connsiteY40" fmla="*/ 116302 h 546206"/>
              <a:gd name="connsiteX41" fmla="*/ 1352520 w 1980551"/>
              <a:gd name="connsiteY41" fmla="*/ 202573 h 546206"/>
              <a:gd name="connsiteX42" fmla="*/ 1352520 w 1980551"/>
              <a:gd name="connsiteY42" fmla="*/ 202574 h 546206"/>
              <a:gd name="connsiteX43" fmla="*/ 1283424 w 1980551"/>
              <a:gd name="connsiteY43" fmla="*/ 396104 h 546206"/>
              <a:gd name="connsiteX44" fmla="*/ 1076135 w 1980551"/>
              <a:gd name="connsiteY44" fmla="*/ 534837 h 546206"/>
              <a:gd name="connsiteX45" fmla="*/ 822579 w 1980551"/>
              <a:gd name="connsiteY45" fmla="*/ 413591 h 546206"/>
              <a:gd name="connsiteX46" fmla="*/ 892297 w 1980551"/>
              <a:gd name="connsiteY46" fmla="*/ 239880 h 546206"/>
              <a:gd name="connsiteX47" fmla="*/ 1167615 w 1980551"/>
              <a:gd name="connsiteY47" fmla="*/ 103288 h 546206"/>
              <a:gd name="connsiteX48" fmla="*/ 496231 w 1980551"/>
              <a:gd name="connsiteY48" fmla="*/ 302 h 546206"/>
              <a:gd name="connsiteX49" fmla="*/ 620979 w 1980551"/>
              <a:gd name="connsiteY49" fmla="*/ 145853 h 546206"/>
              <a:gd name="connsiteX50" fmla="*/ 625785 w 1980551"/>
              <a:gd name="connsiteY50" fmla="*/ 212484 h 546206"/>
              <a:gd name="connsiteX51" fmla="*/ 617484 w 1980551"/>
              <a:gd name="connsiteY51" fmla="*/ 264746 h 546206"/>
              <a:gd name="connsiteX52" fmla="*/ 356805 w 1980551"/>
              <a:gd name="connsiteY52" fmla="*/ 359380 h 546206"/>
              <a:gd name="connsiteX53" fmla="*/ 195171 w 1980551"/>
              <a:gd name="connsiteY53" fmla="*/ 355884 h 546206"/>
              <a:gd name="connsiteX54" fmla="*/ 248228 w 1980551"/>
              <a:gd name="connsiteY54" fmla="*/ 440989 h 546206"/>
              <a:gd name="connsiteX55" fmla="*/ 414797 w 1980551"/>
              <a:gd name="connsiteY55" fmla="*/ 417670 h 546206"/>
              <a:gd name="connsiteX56" fmla="*/ 603576 w 1980551"/>
              <a:gd name="connsiteY56" fmla="*/ 468969 h 546206"/>
              <a:gd name="connsiteX57" fmla="*/ 446875 w 1980551"/>
              <a:gd name="connsiteY57" fmla="*/ 537754 h 546206"/>
              <a:gd name="connsiteX58" fmla="*/ 25517 w 1980551"/>
              <a:gd name="connsiteY58" fmla="*/ 251539 h 546206"/>
              <a:gd name="connsiteX59" fmla="*/ 453045 w 1980551"/>
              <a:gd name="connsiteY59" fmla="*/ 6131 h 546206"/>
              <a:gd name="connsiteX60" fmla="*/ 496231 w 1980551"/>
              <a:gd name="connsiteY60" fmla="*/ 302 h 546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1980551" h="546206">
                <a:moveTo>
                  <a:pt x="738049" y="247957"/>
                </a:moveTo>
                <a:cubicBezTo>
                  <a:pt x="751303" y="246818"/>
                  <a:pt x="766253" y="248171"/>
                  <a:pt x="783101" y="252123"/>
                </a:cubicBezTo>
                <a:cubicBezTo>
                  <a:pt x="799539" y="257324"/>
                  <a:pt x="803421" y="267613"/>
                  <a:pt x="807161" y="281851"/>
                </a:cubicBezTo>
                <a:cubicBezTo>
                  <a:pt x="793784" y="307306"/>
                  <a:pt x="796773" y="340698"/>
                  <a:pt x="769527" y="359961"/>
                </a:cubicBezTo>
                <a:cubicBezTo>
                  <a:pt x="732267" y="386303"/>
                  <a:pt x="638411" y="386375"/>
                  <a:pt x="659099" y="322656"/>
                </a:cubicBezTo>
                <a:cubicBezTo>
                  <a:pt x="673787" y="277225"/>
                  <a:pt x="698286" y="251375"/>
                  <a:pt x="738049" y="247957"/>
                </a:cubicBezTo>
                <a:close/>
                <a:moveTo>
                  <a:pt x="625785" y="212484"/>
                </a:moveTo>
                <a:lnTo>
                  <a:pt x="625785" y="212485"/>
                </a:lnTo>
                <a:lnTo>
                  <a:pt x="625785" y="212484"/>
                </a:lnTo>
                <a:close/>
                <a:moveTo>
                  <a:pt x="1118702" y="208403"/>
                </a:moveTo>
                <a:cubicBezTo>
                  <a:pt x="1047099" y="208403"/>
                  <a:pt x="1038373" y="302848"/>
                  <a:pt x="1024936" y="353550"/>
                </a:cubicBezTo>
                <a:cubicBezTo>
                  <a:pt x="1021554" y="372712"/>
                  <a:pt x="998853" y="436907"/>
                  <a:pt x="1035421" y="436907"/>
                </a:cubicBezTo>
                <a:cubicBezTo>
                  <a:pt x="1121512" y="453268"/>
                  <a:pt x="1129523" y="364043"/>
                  <a:pt x="1144003" y="304584"/>
                </a:cubicBezTo>
                <a:cubicBezTo>
                  <a:pt x="1149321" y="282710"/>
                  <a:pt x="1159881" y="246011"/>
                  <a:pt x="1155101" y="223559"/>
                </a:cubicBezTo>
                <a:cubicBezTo>
                  <a:pt x="1155101" y="206858"/>
                  <a:pt x="1130457" y="209520"/>
                  <a:pt x="1118702" y="208404"/>
                </a:cubicBezTo>
                <a:close/>
                <a:moveTo>
                  <a:pt x="422544" y="140485"/>
                </a:moveTo>
                <a:cubicBezTo>
                  <a:pt x="364403" y="152951"/>
                  <a:pt x="260427" y="234184"/>
                  <a:pt x="244526" y="249208"/>
                </a:cubicBezTo>
                <a:cubicBezTo>
                  <a:pt x="241865" y="254272"/>
                  <a:pt x="243876" y="252703"/>
                  <a:pt x="247611" y="254455"/>
                </a:cubicBezTo>
                <a:cubicBezTo>
                  <a:pt x="306610" y="254455"/>
                  <a:pt x="365748" y="253871"/>
                  <a:pt x="424667" y="253871"/>
                </a:cubicBezTo>
                <a:cubicBezTo>
                  <a:pt x="463469" y="247819"/>
                  <a:pt x="464769" y="236661"/>
                  <a:pt x="464769" y="199659"/>
                </a:cubicBezTo>
                <a:cubicBezTo>
                  <a:pt x="464769" y="185193"/>
                  <a:pt x="465395" y="169895"/>
                  <a:pt x="460448" y="155940"/>
                </a:cubicBezTo>
                <a:cubicBezTo>
                  <a:pt x="456213" y="139815"/>
                  <a:pt x="441925" y="136330"/>
                  <a:pt x="422544" y="140485"/>
                </a:cubicBezTo>
                <a:close/>
                <a:moveTo>
                  <a:pt x="1910799" y="116378"/>
                </a:moveTo>
                <a:cubicBezTo>
                  <a:pt x="1940083" y="121072"/>
                  <a:pt x="1963808" y="138810"/>
                  <a:pt x="1977462" y="177511"/>
                </a:cubicBezTo>
                <a:cubicBezTo>
                  <a:pt x="1979011" y="186251"/>
                  <a:pt x="1980551" y="194174"/>
                  <a:pt x="1980551" y="203157"/>
                </a:cubicBezTo>
                <a:lnTo>
                  <a:pt x="1980542" y="203157"/>
                </a:lnTo>
                <a:cubicBezTo>
                  <a:pt x="1980542" y="219464"/>
                  <a:pt x="1976924" y="236275"/>
                  <a:pt x="1973147" y="252123"/>
                </a:cubicBezTo>
                <a:cubicBezTo>
                  <a:pt x="1950874" y="345132"/>
                  <a:pt x="1914963" y="433618"/>
                  <a:pt x="1883075" y="523181"/>
                </a:cubicBezTo>
                <a:cubicBezTo>
                  <a:pt x="1853810" y="550829"/>
                  <a:pt x="1792977" y="535774"/>
                  <a:pt x="1761533" y="517934"/>
                </a:cubicBezTo>
                <a:cubicBezTo>
                  <a:pt x="1745808" y="503073"/>
                  <a:pt x="1784907" y="427251"/>
                  <a:pt x="1791151" y="408927"/>
                </a:cubicBezTo>
                <a:cubicBezTo>
                  <a:pt x="1800734" y="380784"/>
                  <a:pt x="1853078" y="277007"/>
                  <a:pt x="1809039" y="256204"/>
                </a:cubicBezTo>
                <a:cubicBezTo>
                  <a:pt x="1794878" y="256204"/>
                  <a:pt x="1783612" y="257956"/>
                  <a:pt x="1769561" y="261450"/>
                </a:cubicBezTo>
                <a:cubicBezTo>
                  <a:pt x="1637780" y="305043"/>
                  <a:pt x="1544241" y="431793"/>
                  <a:pt x="1449374" y="521431"/>
                </a:cubicBezTo>
                <a:cubicBezTo>
                  <a:pt x="1408254" y="540996"/>
                  <a:pt x="1378729" y="535989"/>
                  <a:pt x="1338334" y="516769"/>
                </a:cubicBezTo>
                <a:cubicBezTo>
                  <a:pt x="1334319" y="512983"/>
                  <a:pt x="1336264" y="506965"/>
                  <a:pt x="1337097" y="502195"/>
                </a:cubicBezTo>
                <a:cubicBezTo>
                  <a:pt x="1367664" y="381550"/>
                  <a:pt x="1416012" y="261935"/>
                  <a:pt x="1468499" y="148362"/>
                </a:cubicBezTo>
                <a:cubicBezTo>
                  <a:pt x="1476752" y="125175"/>
                  <a:pt x="1561600" y="133767"/>
                  <a:pt x="1582635" y="143700"/>
                </a:cubicBezTo>
                <a:cubicBezTo>
                  <a:pt x="1582635" y="169383"/>
                  <a:pt x="1579782" y="212485"/>
                  <a:pt x="1619025" y="212485"/>
                </a:cubicBezTo>
                <a:cubicBezTo>
                  <a:pt x="1685071" y="205607"/>
                  <a:pt x="1822948" y="102296"/>
                  <a:pt x="1910799" y="116378"/>
                </a:cubicBezTo>
                <a:close/>
                <a:moveTo>
                  <a:pt x="1167615" y="103288"/>
                </a:moveTo>
                <a:cubicBezTo>
                  <a:pt x="1204734" y="103504"/>
                  <a:pt x="1241814" y="108095"/>
                  <a:pt x="1276642" y="116302"/>
                </a:cubicBezTo>
                <a:cubicBezTo>
                  <a:pt x="1323794" y="132512"/>
                  <a:pt x="1348894" y="154205"/>
                  <a:pt x="1352520" y="202573"/>
                </a:cubicBezTo>
                <a:lnTo>
                  <a:pt x="1352520" y="202574"/>
                </a:lnTo>
                <a:cubicBezTo>
                  <a:pt x="1352520" y="263398"/>
                  <a:pt x="1312410" y="343309"/>
                  <a:pt x="1283424" y="396104"/>
                </a:cubicBezTo>
                <a:cubicBezTo>
                  <a:pt x="1237886" y="479183"/>
                  <a:pt x="1176296" y="528965"/>
                  <a:pt x="1076135" y="534837"/>
                </a:cubicBezTo>
                <a:cubicBezTo>
                  <a:pt x="987612" y="540025"/>
                  <a:pt x="787527" y="554548"/>
                  <a:pt x="822579" y="413591"/>
                </a:cubicBezTo>
                <a:cubicBezTo>
                  <a:pt x="837783" y="352570"/>
                  <a:pt x="871557" y="298807"/>
                  <a:pt x="892297" y="239880"/>
                </a:cubicBezTo>
                <a:cubicBezTo>
                  <a:pt x="944555" y="141356"/>
                  <a:pt x="1056258" y="102639"/>
                  <a:pt x="1167615" y="103288"/>
                </a:cubicBezTo>
                <a:close/>
                <a:moveTo>
                  <a:pt x="496231" y="302"/>
                </a:moveTo>
                <a:cubicBezTo>
                  <a:pt x="578563" y="-5507"/>
                  <a:pt x="610271" y="73564"/>
                  <a:pt x="620979" y="145853"/>
                </a:cubicBezTo>
                <a:lnTo>
                  <a:pt x="625785" y="212484"/>
                </a:lnTo>
                <a:lnTo>
                  <a:pt x="617484" y="264746"/>
                </a:lnTo>
                <a:cubicBezTo>
                  <a:pt x="586877" y="369512"/>
                  <a:pt x="480395" y="359915"/>
                  <a:pt x="356805" y="359380"/>
                </a:cubicBezTo>
                <a:cubicBezTo>
                  <a:pt x="303128" y="359171"/>
                  <a:pt x="248235" y="355884"/>
                  <a:pt x="195171" y="355884"/>
                </a:cubicBezTo>
                <a:cubicBezTo>
                  <a:pt x="175591" y="374648"/>
                  <a:pt x="232280" y="431567"/>
                  <a:pt x="248228" y="440989"/>
                </a:cubicBezTo>
                <a:cubicBezTo>
                  <a:pt x="302667" y="473033"/>
                  <a:pt x="370974" y="459274"/>
                  <a:pt x="414797" y="417670"/>
                </a:cubicBezTo>
                <a:cubicBezTo>
                  <a:pt x="438341" y="417670"/>
                  <a:pt x="691052" y="386460"/>
                  <a:pt x="603576" y="468969"/>
                </a:cubicBezTo>
                <a:cubicBezTo>
                  <a:pt x="561238" y="504563"/>
                  <a:pt x="501337" y="525587"/>
                  <a:pt x="446875" y="537754"/>
                </a:cubicBezTo>
                <a:cubicBezTo>
                  <a:pt x="273588" y="576475"/>
                  <a:pt x="-100733" y="482347"/>
                  <a:pt x="25517" y="251539"/>
                </a:cubicBezTo>
                <a:cubicBezTo>
                  <a:pt x="111822" y="117325"/>
                  <a:pt x="298753" y="43934"/>
                  <a:pt x="453045" y="6131"/>
                </a:cubicBezTo>
                <a:cubicBezTo>
                  <a:pt x="467412" y="3415"/>
                  <a:pt x="481605" y="1326"/>
                  <a:pt x="496231" y="302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00"/>
            </a:lvl1pPr>
            <a:lvl5pPr>
              <a:defRPr/>
            </a:lvl5pPr>
          </a:lstStyle>
          <a:p>
            <a:pPr lvl="0"/>
            <a:r>
              <a:rPr lang="de-DE"/>
              <a:t>  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74992822-E94C-1702-FD5A-3197C5DBF069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359531" y="6050859"/>
            <a:ext cx="4212000" cy="360000"/>
          </a:xfrm>
        </p:spPr>
        <p:txBody>
          <a:bodyPr anchor="b"/>
          <a:lstStyle>
            <a:lvl1pPr algn="l">
              <a:defRPr sz="1500" b="1">
                <a:solidFill>
                  <a:schemeClr val="bg1"/>
                </a:solidFill>
              </a:defRPr>
            </a:lvl1pPr>
          </a:lstStyle>
          <a:p>
            <a:fld id="{4C28A472-D247-4915-A445-53D9D8ED59EC}" type="datetime1">
              <a:rPr lang="de-DE" smtClean="0"/>
              <a:t>29.04.20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16529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71EDD8-CE41-5F3A-1222-8BB0B52C85ED}"/>
              </a:ext>
            </a:extLst>
          </p:cNvPr>
          <p:cNvSpPr/>
          <p:nvPr userDrawn="1"/>
        </p:nvSpPr>
        <p:spPr>
          <a:xfrm>
            <a:off x="0" y="-1"/>
            <a:ext cx="3429000" cy="6858000"/>
          </a:xfrm>
          <a:prstGeom prst="rect">
            <a:avLst/>
          </a:prstGeom>
          <a:gradFill flip="none" rotWithShape="1">
            <a:gsLst>
              <a:gs pos="58000">
                <a:srgbClr val="EA1B0A"/>
              </a:gs>
              <a:gs pos="100000">
                <a:srgbClr val="961482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 defTabSz="405000">
              <a:lnSpc>
                <a:spcPct val="120000"/>
              </a:lnSpc>
              <a:spcAft>
                <a:spcPts val="300"/>
              </a:spcAft>
            </a:pPr>
            <a:endParaRPr lang="en-US" sz="105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65674F3-461B-A0D8-BD43-B0E188D4749E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9144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A93D36D-170F-57E0-AC70-4E68245359A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9144000" y="6858000"/>
            <a:ext cx="0" cy="0"/>
          </a:xfrm>
        </p:spPr>
        <p:txBody>
          <a:bodyPr anchor="b"/>
          <a:lstStyle>
            <a:lvl1pPr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5" name="Image">
            <a:extLst>
              <a:ext uri="{FF2B5EF4-FFF2-40B4-BE49-F238E27FC236}">
                <a16:creationId xmlns:a16="http://schemas.microsoft.com/office/drawing/2014/main" id="{B8FDE1EB-2770-97AC-33D1-F5045924E2A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429000" y="0"/>
            <a:ext cx="5715000" cy="6858000"/>
          </a:xfrm>
          <a:solidFill>
            <a:schemeClr val="bg1">
              <a:lumMod val="75000"/>
            </a:schemeClr>
          </a:solidFill>
        </p:spPr>
        <p:txBody>
          <a:bodyPr tIns="0" anchor="ctr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DE89EDF3-6591-5B1A-CD1F-6369A64261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9569" y="2407206"/>
            <a:ext cx="2781272" cy="5645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500">
                <a:solidFill>
                  <a:schemeClr val="bg1"/>
                </a:solidFill>
                <a:latin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16867C0-5332-AE90-6140-EE0C9C14E7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9569" y="512764"/>
            <a:ext cx="2781272" cy="1777652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80000"/>
              </a:lnSpc>
              <a:defRPr sz="330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8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1E5B8264-4460-C20B-5FD0-7B628F2BF20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009000" y="0"/>
            <a:ext cx="135000" cy="180000"/>
          </a:xfrm>
          <a:prstGeom prst="rect">
            <a:avLst/>
          </a:prstGeom>
        </p:spPr>
      </p:pic>
      <p:pic>
        <p:nvPicPr>
          <p:cNvPr id="9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4BA2485C-9557-F4C3-55A1-F87F6372EB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009000" y="0"/>
            <a:ext cx="135000" cy="180000"/>
          </a:xfrm>
          <a:prstGeom prst="rect">
            <a:avLst/>
          </a:prstGeom>
        </p:spPr>
      </p:pic>
      <p:sp>
        <p:nvSpPr>
          <p:cNvPr id="10" name="E.ON Logo">
            <a:extLst>
              <a:ext uri="{FF2B5EF4-FFF2-40B4-BE49-F238E27FC236}">
                <a16:creationId xmlns:a16="http://schemas.microsoft.com/office/drawing/2014/main" id="{778D5CDF-1202-A4A2-F064-431B6EFF7421}"/>
              </a:ext>
            </a:extLst>
          </p:cNvPr>
          <p:cNvSpPr/>
          <p:nvPr userDrawn="1"/>
        </p:nvSpPr>
        <p:spPr>
          <a:xfrm>
            <a:off x="359569" y="5854730"/>
            <a:ext cx="1333939" cy="490507"/>
          </a:xfrm>
          <a:custGeom>
            <a:avLst/>
            <a:gdLst>
              <a:gd name="connsiteX0" fmla="*/ 1202810 w 1761324"/>
              <a:gd name="connsiteY0" fmla="*/ 180152 h 485747"/>
              <a:gd name="connsiteX1" fmla="*/ 1141362 w 1761324"/>
              <a:gd name="connsiteY1" fmla="*/ 352260 h 485747"/>
              <a:gd name="connsiteX2" fmla="*/ 957018 w 1761324"/>
              <a:gd name="connsiteY2" fmla="*/ 475637 h 485747"/>
              <a:gd name="connsiteX3" fmla="*/ 731528 w 1761324"/>
              <a:gd name="connsiteY3" fmla="*/ 367812 h 485747"/>
              <a:gd name="connsiteX4" fmla="*/ 793529 w 1761324"/>
              <a:gd name="connsiteY4" fmla="*/ 213329 h 485747"/>
              <a:gd name="connsiteX5" fmla="*/ 1135331 w 1761324"/>
              <a:gd name="connsiteY5" fmla="*/ 103429 h 485747"/>
              <a:gd name="connsiteX6" fmla="*/ 1202810 w 1761324"/>
              <a:gd name="connsiteY6" fmla="*/ 180151 h 485747"/>
              <a:gd name="connsiteX7" fmla="*/ 1202810 w 1761324"/>
              <a:gd name="connsiteY7" fmla="*/ 180152 h 485747"/>
              <a:gd name="connsiteX8" fmla="*/ 994873 w 1761324"/>
              <a:gd name="connsiteY8" fmla="*/ 185336 h 485747"/>
              <a:gd name="connsiteX9" fmla="*/ 911486 w 1761324"/>
              <a:gd name="connsiteY9" fmla="*/ 314417 h 485747"/>
              <a:gd name="connsiteX10" fmla="*/ 920810 w 1761324"/>
              <a:gd name="connsiteY10" fmla="*/ 388547 h 485747"/>
              <a:gd name="connsiteX11" fmla="*/ 1017374 w 1761324"/>
              <a:gd name="connsiteY11" fmla="*/ 270871 h 485747"/>
              <a:gd name="connsiteX12" fmla="*/ 1027243 w 1761324"/>
              <a:gd name="connsiteY12" fmla="*/ 198814 h 485747"/>
              <a:gd name="connsiteX13" fmla="*/ 994873 w 1761324"/>
              <a:gd name="connsiteY13" fmla="*/ 185337 h 485747"/>
              <a:gd name="connsiteX14" fmla="*/ 994873 w 1761324"/>
              <a:gd name="connsiteY14" fmla="*/ 185336 h 485747"/>
              <a:gd name="connsiteX15" fmla="*/ 556517 w 1761324"/>
              <a:gd name="connsiteY15" fmla="*/ 188965 h 485747"/>
              <a:gd name="connsiteX16" fmla="*/ 317310 w 1761324"/>
              <a:gd name="connsiteY16" fmla="*/ 319601 h 485747"/>
              <a:gd name="connsiteX17" fmla="*/ 173567 w 1761324"/>
              <a:gd name="connsiteY17" fmla="*/ 316492 h 485747"/>
              <a:gd name="connsiteX18" fmla="*/ 220751 w 1761324"/>
              <a:gd name="connsiteY18" fmla="*/ 392177 h 485747"/>
              <a:gd name="connsiteX19" fmla="*/ 368883 w 1761324"/>
              <a:gd name="connsiteY19" fmla="*/ 371439 h 485747"/>
              <a:gd name="connsiteX20" fmla="*/ 536766 w 1761324"/>
              <a:gd name="connsiteY20" fmla="*/ 417060 h 485747"/>
              <a:gd name="connsiteX21" fmla="*/ 397410 w 1761324"/>
              <a:gd name="connsiteY21" fmla="*/ 478231 h 485747"/>
              <a:gd name="connsiteX22" fmla="*/ 22692 w 1761324"/>
              <a:gd name="connsiteY22" fmla="*/ 223697 h 485747"/>
              <a:gd name="connsiteX23" fmla="*/ 402897 w 1761324"/>
              <a:gd name="connsiteY23" fmla="*/ 5453 h 485747"/>
              <a:gd name="connsiteX24" fmla="*/ 441303 w 1761324"/>
              <a:gd name="connsiteY24" fmla="*/ 269 h 485747"/>
              <a:gd name="connsiteX25" fmla="*/ 556517 w 1761324"/>
              <a:gd name="connsiteY25" fmla="*/ 188966 h 485747"/>
              <a:gd name="connsiteX26" fmla="*/ 556517 w 1761324"/>
              <a:gd name="connsiteY26" fmla="*/ 188965 h 485747"/>
              <a:gd name="connsiteX27" fmla="*/ 413323 w 1761324"/>
              <a:gd name="connsiteY27" fmla="*/ 177560 h 485747"/>
              <a:gd name="connsiteX28" fmla="*/ 409481 w 1761324"/>
              <a:gd name="connsiteY28" fmla="*/ 138680 h 485747"/>
              <a:gd name="connsiteX29" fmla="*/ 217459 w 1761324"/>
              <a:gd name="connsiteY29" fmla="*/ 221624 h 485747"/>
              <a:gd name="connsiteX30" fmla="*/ 220202 w 1761324"/>
              <a:gd name="connsiteY30" fmla="*/ 226290 h 485747"/>
              <a:gd name="connsiteX31" fmla="*/ 377660 w 1761324"/>
              <a:gd name="connsiteY31" fmla="*/ 225771 h 485747"/>
              <a:gd name="connsiteX32" fmla="*/ 413323 w 1761324"/>
              <a:gd name="connsiteY32" fmla="*/ 177560 h 485747"/>
              <a:gd name="connsiteX33" fmla="*/ 413323 w 1761324"/>
              <a:gd name="connsiteY33" fmla="*/ 177560 h 485747"/>
              <a:gd name="connsiteX34" fmla="*/ 717816 w 1761324"/>
              <a:gd name="connsiteY34" fmla="*/ 250654 h 485747"/>
              <a:gd name="connsiteX35" fmla="*/ 684348 w 1761324"/>
              <a:gd name="connsiteY35" fmla="*/ 320118 h 485747"/>
              <a:gd name="connsiteX36" fmla="*/ 586143 w 1761324"/>
              <a:gd name="connsiteY36" fmla="*/ 286942 h 485747"/>
              <a:gd name="connsiteX37" fmla="*/ 696419 w 1761324"/>
              <a:gd name="connsiteY37" fmla="*/ 224216 h 485747"/>
              <a:gd name="connsiteX38" fmla="*/ 717816 w 1761324"/>
              <a:gd name="connsiteY38" fmla="*/ 250654 h 485747"/>
              <a:gd name="connsiteX39" fmla="*/ 717816 w 1761324"/>
              <a:gd name="connsiteY39" fmla="*/ 250654 h 485747"/>
              <a:gd name="connsiteX40" fmla="*/ 1761317 w 1761324"/>
              <a:gd name="connsiteY40" fmla="*/ 180670 h 485747"/>
              <a:gd name="connsiteX41" fmla="*/ 1754740 w 1761324"/>
              <a:gd name="connsiteY41" fmla="*/ 224216 h 485747"/>
              <a:gd name="connsiteX42" fmla="*/ 1674638 w 1761324"/>
              <a:gd name="connsiteY42" fmla="*/ 465271 h 485747"/>
              <a:gd name="connsiteX43" fmla="*/ 1566550 w 1761324"/>
              <a:gd name="connsiteY43" fmla="*/ 460605 h 485747"/>
              <a:gd name="connsiteX44" fmla="*/ 1592889 w 1761324"/>
              <a:gd name="connsiteY44" fmla="*/ 363664 h 485747"/>
              <a:gd name="connsiteX45" fmla="*/ 1608797 w 1761324"/>
              <a:gd name="connsiteY45" fmla="*/ 227846 h 485747"/>
              <a:gd name="connsiteX46" fmla="*/ 1573689 w 1761324"/>
              <a:gd name="connsiteY46" fmla="*/ 232511 h 485747"/>
              <a:gd name="connsiteX47" fmla="*/ 1288943 w 1761324"/>
              <a:gd name="connsiteY47" fmla="*/ 463715 h 485747"/>
              <a:gd name="connsiteX48" fmla="*/ 1190194 w 1761324"/>
              <a:gd name="connsiteY48" fmla="*/ 459569 h 485747"/>
              <a:gd name="connsiteX49" fmla="*/ 1189094 w 1761324"/>
              <a:gd name="connsiteY49" fmla="*/ 446608 h 485747"/>
              <a:gd name="connsiteX50" fmla="*/ 1305951 w 1761324"/>
              <a:gd name="connsiteY50" fmla="*/ 131941 h 485747"/>
              <a:gd name="connsiteX51" fmla="*/ 1407454 w 1761324"/>
              <a:gd name="connsiteY51" fmla="*/ 127795 h 485747"/>
              <a:gd name="connsiteX52" fmla="*/ 1439816 w 1761324"/>
              <a:gd name="connsiteY52" fmla="*/ 188966 h 485747"/>
              <a:gd name="connsiteX53" fmla="*/ 1758578 w 1761324"/>
              <a:gd name="connsiteY53" fmla="*/ 157863 h 485747"/>
              <a:gd name="connsiteX54" fmla="*/ 1761325 w 1761324"/>
              <a:gd name="connsiteY54" fmla="*/ 180670 h 485747"/>
              <a:gd name="connsiteX55" fmla="*/ 1761317 w 1761324"/>
              <a:gd name="connsiteY55" fmla="*/ 180670 h 485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1761324" h="485747">
                <a:moveTo>
                  <a:pt x="1202810" y="180152"/>
                </a:moveTo>
                <a:cubicBezTo>
                  <a:pt x="1202810" y="234243"/>
                  <a:pt x="1167140" y="305309"/>
                  <a:pt x="1141362" y="352260"/>
                </a:cubicBezTo>
                <a:cubicBezTo>
                  <a:pt x="1100865" y="426143"/>
                  <a:pt x="1046092" y="470415"/>
                  <a:pt x="957018" y="475637"/>
                </a:cubicBezTo>
                <a:cubicBezTo>
                  <a:pt x="878293" y="480251"/>
                  <a:pt x="700356" y="493166"/>
                  <a:pt x="731528" y="367812"/>
                </a:cubicBezTo>
                <a:cubicBezTo>
                  <a:pt x="745049" y="313545"/>
                  <a:pt x="775084" y="265733"/>
                  <a:pt x="793529" y="213329"/>
                </a:cubicBezTo>
                <a:cubicBezTo>
                  <a:pt x="855493" y="96504"/>
                  <a:pt x="1011440" y="74234"/>
                  <a:pt x="1135331" y="103429"/>
                </a:cubicBezTo>
                <a:cubicBezTo>
                  <a:pt x="1177264" y="117845"/>
                  <a:pt x="1199585" y="137137"/>
                  <a:pt x="1202810" y="180151"/>
                </a:cubicBezTo>
                <a:lnTo>
                  <a:pt x="1202810" y="180152"/>
                </a:lnTo>
                <a:close/>
                <a:moveTo>
                  <a:pt x="994873" y="185336"/>
                </a:moveTo>
                <a:cubicBezTo>
                  <a:pt x="931196" y="185336"/>
                  <a:pt x="923436" y="269327"/>
                  <a:pt x="911486" y="314417"/>
                </a:cubicBezTo>
                <a:cubicBezTo>
                  <a:pt x="908478" y="331458"/>
                  <a:pt x="888290" y="388547"/>
                  <a:pt x="920810" y="388547"/>
                </a:cubicBezTo>
                <a:cubicBezTo>
                  <a:pt x="997372" y="403097"/>
                  <a:pt x="1004496" y="323748"/>
                  <a:pt x="1017374" y="270871"/>
                </a:cubicBezTo>
                <a:cubicBezTo>
                  <a:pt x="1022103" y="251418"/>
                  <a:pt x="1031494" y="218781"/>
                  <a:pt x="1027243" y="198814"/>
                </a:cubicBezTo>
                <a:cubicBezTo>
                  <a:pt x="1027243" y="183962"/>
                  <a:pt x="1005327" y="186329"/>
                  <a:pt x="994873" y="185337"/>
                </a:cubicBezTo>
                <a:lnTo>
                  <a:pt x="994873" y="185336"/>
                </a:lnTo>
                <a:close/>
                <a:moveTo>
                  <a:pt x="556517" y="188965"/>
                </a:moveTo>
                <a:cubicBezTo>
                  <a:pt x="548660" y="331215"/>
                  <a:pt x="442921" y="320145"/>
                  <a:pt x="317310" y="319601"/>
                </a:cubicBezTo>
                <a:cubicBezTo>
                  <a:pt x="269574" y="319415"/>
                  <a:pt x="220757" y="316492"/>
                  <a:pt x="173567" y="316492"/>
                </a:cubicBezTo>
                <a:cubicBezTo>
                  <a:pt x="156154" y="333179"/>
                  <a:pt x="206568" y="383798"/>
                  <a:pt x="220751" y="392177"/>
                </a:cubicBezTo>
                <a:cubicBezTo>
                  <a:pt x="269164" y="420674"/>
                  <a:pt x="329910" y="408438"/>
                  <a:pt x="368883" y="371439"/>
                </a:cubicBezTo>
                <a:cubicBezTo>
                  <a:pt x="389821" y="371439"/>
                  <a:pt x="614559" y="343684"/>
                  <a:pt x="536766" y="417060"/>
                </a:cubicBezTo>
                <a:cubicBezTo>
                  <a:pt x="499114" y="448714"/>
                  <a:pt x="445844" y="467411"/>
                  <a:pt x="397410" y="478231"/>
                </a:cubicBezTo>
                <a:cubicBezTo>
                  <a:pt x="243304" y="512666"/>
                  <a:pt x="-89584" y="428957"/>
                  <a:pt x="22692" y="223697"/>
                </a:cubicBezTo>
                <a:cubicBezTo>
                  <a:pt x="99444" y="104339"/>
                  <a:pt x="265683" y="39072"/>
                  <a:pt x="402897" y="5453"/>
                </a:cubicBezTo>
                <a:cubicBezTo>
                  <a:pt x="415674" y="3038"/>
                  <a:pt x="428296" y="1180"/>
                  <a:pt x="441303" y="269"/>
                </a:cubicBezTo>
                <a:cubicBezTo>
                  <a:pt x="538928" y="-6619"/>
                  <a:pt x="556517" y="120689"/>
                  <a:pt x="556517" y="188966"/>
                </a:cubicBezTo>
                <a:lnTo>
                  <a:pt x="556517" y="188965"/>
                </a:lnTo>
                <a:close/>
                <a:moveTo>
                  <a:pt x="413323" y="177560"/>
                </a:moveTo>
                <a:cubicBezTo>
                  <a:pt x="413323" y="164695"/>
                  <a:pt x="413880" y="151090"/>
                  <a:pt x="409481" y="138680"/>
                </a:cubicBezTo>
                <a:cubicBezTo>
                  <a:pt x="394414" y="81319"/>
                  <a:pt x="236313" y="203809"/>
                  <a:pt x="217459" y="221624"/>
                </a:cubicBezTo>
                <a:cubicBezTo>
                  <a:pt x="215092" y="226128"/>
                  <a:pt x="216881" y="224732"/>
                  <a:pt x="220202" y="226290"/>
                </a:cubicBezTo>
                <a:cubicBezTo>
                  <a:pt x="272671" y="226290"/>
                  <a:pt x="325263" y="225771"/>
                  <a:pt x="377660" y="225771"/>
                </a:cubicBezTo>
                <a:cubicBezTo>
                  <a:pt x="412167" y="220389"/>
                  <a:pt x="413323" y="210466"/>
                  <a:pt x="413323" y="177560"/>
                </a:cubicBezTo>
                <a:lnTo>
                  <a:pt x="413323" y="177560"/>
                </a:lnTo>
                <a:close/>
                <a:moveTo>
                  <a:pt x="717816" y="250654"/>
                </a:moveTo>
                <a:cubicBezTo>
                  <a:pt x="705920" y="273291"/>
                  <a:pt x="708578" y="302987"/>
                  <a:pt x="684348" y="320118"/>
                </a:cubicBezTo>
                <a:cubicBezTo>
                  <a:pt x="651212" y="343544"/>
                  <a:pt x="567745" y="343608"/>
                  <a:pt x="586143" y="286942"/>
                </a:cubicBezTo>
                <a:cubicBezTo>
                  <a:pt x="603559" y="233072"/>
                  <a:pt x="636487" y="210160"/>
                  <a:pt x="696419" y="224216"/>
                </a:cubicBezTo>
                <a:cubicBezTo>
                  <a:pt x="711038" y="228842"/>
                  <a:pt x="714490" y="237992"/>
                  <a:pt x="717816" y="250654"/>
                </a:cubicBezTo>
                <a:lnTo>
                  <a:pt x="717816" y="250654"/>
                </a:lnTo>
                <a:close/>
                <a:moveTo>
                  <a:pt x="1761317" y="180670"/>
                </a:moveTo>
                <a:cubicBezTo>
                  <a:pt x="1761317" y="195172"/>
                  <a:pt x="1758099" y="210123"/>
                  <a:pt x="1754740" y="224216"/>
                </a:cubicBezTo>
                <a:cubicBezTo>
                  <a:pt x="1734933" y="306930"/>
                  <a:pt x="1702997" y="385622"/>
                  <a:pt x="1674638" y="465271"/>
                </a:cubicBezTo>
                <a:cubicBezTo>
                  <a:pt x="1648613" y="489859"/>
                  <a:pt x="1594513" y="476470"/>
                  <a:pt x="1566550" y="460605"/>
                </a:cubicBezTo>
                <a:cubicBezTo>
                  <a:pt x="1552565" y="447389"/>
                  <a:pt x="1587337" y="379960"/>
                  <a:pt x="1592889" y="363664"/>
                </a:cubicBezTo>
                <a:cubicBezTo>
                  <a:pt x="1601412" y="338636"/>
                  <a:pt x="1647962" y="246346"/>
                  <a:pt x="1608797" y="227846"/>
                </a:cubicBezTo>
                <a:cubicBezTo>
                  <a:pt x="1596204" y="227846"/>
                  <a:pt x="1586185" y="229404"/>
                  <a:pt x="1573689" y="232511"/>
                </a:cubicBezTo>
                <a:cubicBezTo>
                  <a:pt x="1456495" y="271279"/>
                  <a:pt x="1373310" y="383999"/>
                  <a:pt x="1288943" y="463715"/>
                </a:cubicBezTo>
                <a:cubicBezTo>
                  <a:pt x="1252375" y="481114"/>
                  <a:pt x="1226118" y="476662"/>
                  <a:pt x="1190194" y="459569"/>
                </a:cubicBezTo>
                <a:cubicBezTo>
                  <a:pt x="1186624" y="456202"/>
                  <a:pt x="1188353" y="450850"/>
                  <a:pt x="1189094" y="446608"/>
                </a:cubicBezTo>
                <a:cubicBezTo>
                  <a:pt x="1216278" y="339317"/>
                  <a:pt x="1259274" y="232942"/>
                  <a:pt x="1305951" y="131941"/>
                </a:cubicBezTo>
                <a:cubicBezTo>
                  <a:pt x="1313291" y="111320"/>
                  <a:pt x="1388747" y="118961"/>
                  <a:pt x="1407454" y="127795"/>
                </a:cubicBezTo>
                <a:cubicBezTo>
                  <a:pt x="1407454" y="150635"/>
                  <a:pt x="1404917" y="188966"/>
                  <a:pt x="1439816" y="188966"/>
                </a:cubicBezTo>
                <a:cubicBezTo>
                  <a:pt x="1518130" y="180810"/>
                  <a:pt x="1710008" y="20195"/>
                  <a:pt x="1758578" y="157863"/>
                </a:cubicBezTo>
                <a:cubicBezTo>
                  <a:pt x="1759955" y="165636"/>
                  <a:pt x="1761325" y="172682"/>
                  <a:pt x="1761325" y="180670"/>
                </a:cubicBezTo>
                <a:lnTo>
                  <a:pt x="1761317" y="180670"/>
                </a:lnTo>
                <a:close/>
              </a:path>
            </a:pathLst>
          </a:custGeom>
          <a:solidFill>
            <a:schemeClr val="bg1"/>
          </a:solidFill>
          <a:ln w="7461" cap="flat">
            <a:noFill/>
            <a:prstDash val="solid"/>
            <a:miter/>
          </a:ln>
        </p:spPr>
        <p:txBody>
          <a:bodyPr rtlCol="0" anchor="ctr"/>
          <a:lstStyle/>
          <a:p>
            <a:endParaRPr lang="de-DE" sz="135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B78F765-2AAF-6D64-9D02-36444FBC874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359568" y="3112946"/>
            <a:ext cx="2781271" cy="287337"/>
          </a:xfrm>
        </p:spPr>
        <p:txBody>
          <a:bodyPr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fld id="{2E453EF0-BFF0-41E3-B2F7-162DF6B92BE3}" type="datetime1">
              <a:rPr lang="de-DE" smtClean="0"/>
              <a:t>29.04.20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16933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F2536F-6B14-456C-A02F-1FAD11D5A8FA}" type="datetime1">
              <a:rPr lang="de-DE" smtClean="0"/>
              <a:t>29.04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7" name="Content">
            <a:extLst>
              <a:ext uri="{FF2B5EF4-FFF2-40B4-BE49-F238E27FC236}">
                <a16:creationId xmlns:a16="http://schemas.microsoft.com/office/drawing/2014/main" id="{7E0D2C93-0AD3-3E6C-D51F-9BCD8E70F76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60431" y="1807200"/>
            <a:ext cx="8424000" cy="410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512764"/>
            <a:ext cx="8424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7617916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  <p15:guide id="2" orient="horz" pos="3725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7079AE-BEBE-45CA-BACB-B0D0BD997454}" type="datetime1">
              <a:rPr lang="de-DE" smtClean="0"/>
              <a:t>29.04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6" name="Content right">
            <a:extLst>
              <a:ext uri="{FF2B5EF4-FFF2-40B4-BE49-F238E27FC236}">
                <a16:creationId xmlns:a16="http://schemas.microsoft.com/office/drawing/2014/main" id="{0ED697D8-4001-2C2F-6C69-6C69F0A9DA4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707431" y="1808163"/>
            <a:ext cx="4077000" cy="4103036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Content left">
            <a:extLst>
              <a:ext uri="{FF2B5EF4-FFF2-40B4-BE49-F238E27FC236}">
                <a16:creationId xmlns:a16="http://schemas.microsoft.com/office/drawing/2014/main" id="{7E0D2C93-0AD3-3E6C-D51F-9BCD8E70F76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60431" y="1808163"/>
            <a:ext cx="4077000" cy="4103036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512764"/>
            <a:ext cx="8424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2133306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orient="horz" pos="1139">
          <p15:clr>
            <a:srgbClr val="FBAE40"/>
          </p15:clr>
        </p15:guide>
        <p15:guide id="4" orient="horz" pos="372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6ED3B5-D465-4115-A1C8-A94334C401E2}" type="datetime1">
              <a:rPr lang="de-DE" smtClean="0"/>
              <a:t>29.04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Content right">
            <a:extLst>
              <a:ext uri="{FF2B5EF4-FFF2-40B4-BE49-F238E27FC236}">
                <a16:creationId xmlns:a16="http://schemas.microsoft.com/office/drawing/2014/main" id="{821C6087-42E8-EF3E-2DB1-006977CF49A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138000" y="1807199"/>
            <a:ext cx="2646000" cy="41040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Content center">
            <a:extLst>
              <a:ext uri="{FF2B5EF4-FFF2-40B4-BE49-F238E27FC236}">
                <a16:creationId xmlns:a16="http://schemas.microsoft.com/office/drawing/2014/main" id="{4DBF2313-467C-EC6E-F064-A45CD68A4D5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249000" y="1807199"/>
            <a:ext cx="2646000" cy="41040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Content left">
            <a:extLst>
              <a:ext uri="{FF2B5EF4-FFF2-40B4-BE49-F238E27FC236}">
                <a16:creationId xmlns:a16="http://schemas.microsoft.com/office/drawing/2014/main" id="{7E0D2C93-0AD3-3E6C-D51F-9BCD8E70F76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60431" y="1807199"/>
            <a:ext cx="2646000" cy="41040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512764"/>
            <a:ext cx="8424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7165183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>
          <p15:clr>
            <a:srgbClr val="FBAE40"/>
          </p15:clr>
        </p15:guide>
        <p15:guide id="2" pos="2729">
          <p15:clr>
            <a:srgbClr val="FBAE40"/>
          </p15:clr>
        </p15:guide>
        <p15:guide id="3" pos="5155">
          <p15:clr>
            <a:srgbClr val="FBAE40"/>
          </p15:clr>
        </p15:guide>
        <p15:guide id="4" pos="4951">
          <p15:clr>
            <a:srgbClr val="FBAE40"/>
          </p15:clr>
        </p15:guide>
        <p15:guide id="5" orient="horz" pos="1139">
          <p15:clr>
            <a:srgbClr val="FBAE40"/>
          </p15:clr>
        </p15:guide>
        <p15:guide id="6" orient="horz" pos="372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E5105732-2702-2705-E25B-F69A9911368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49216" y="1816650"/>
            <a:ext cx="2645569" cy="4528587"/>
          </a:xfrm>
          <a:prstGeom prst="rect">
            <a:avLst/>
          </a:prstGeom>
          <a:solidFill>
            <a:srgbClr val="F8F5F2"/>
          </a:solidFill>
        </p:spPr>
        <p:txBody>
          <a:bodyPr lIns="180000" tIns="144000" rIns="180000" bIns="144000"/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8F8D6EF-C64D-64CB-2BE5-D5340EA02FC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38862" y="1816651"/>
            <a:ext cx="2645569" cy="4528585"/>
          </a:xfrm>
          <a:prstGeom prst="rect">
            <a:avLst/>
          </a:prstGeom>
          <a:solidFill>
            <a:srgbClr val="F8F5F2"/>
          </a:solidFill>
        </p:spPr>
        <p:txBody>
          <a:bodyPr lIns="180000" tIns="144000" rIns="180000" bIns="144000"/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A810C95-AC8E-6C1E-2B05-18C779A35A1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9570" y="1816651"/>
            <a:ext cx="2645568" cy="4528587"/>
          </a:xfrm>
          <a:prstGeom prst="rect">
            <a:avLst/>
          </a:prstGeom>
          <a:solidFill>
            <a:srgbClr val="F8F5F2"/>
          </a:solidFill>
        </p:spPr>
        <p:txBody>
          <a:bodyPr lIns="180000" tIns="144000" rIns="180000" bIns="144000"/>
          <a:lstStyle>
            <a:lvl1pPr>
              <a:defRPr sz="135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A5628F-C88D-46C7-8D9E-2E03B48FFA44}" type="datetime1">
              <a:rPr lang="de-DE" smtClean="0"/>
              <a:t>29.04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512764"/>
            <a:ext cx="8424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742611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>
          <p15:clr>
            <a:srgbClr val="FBAE40"/>
          </p15:clr>
        </p15:guide>
        <p15:guide id="2" pos="2729">
          <p15:clr>
            <a:srgbClr val="FBAE40"/>
          </p15:clr>
        </p15:guide>
        <p15:guide id="5" orient="horz" pos="1139">
          <p15:clr>
            <a:srgbClr val="FBAE40"/>
          </p15:clr>
        </p15:guide>
        <p15:guide id="6" orient="horz" pos="3725">
          <p15:clr>
            <a:srgbClr val="FBAE40"/>
          </p15:clr>
        </p15:guide>
        <p15:guide id="7" pos="4951">
          <p15:clr>
            <a:srgbClr val="FBAE40"/>
          </p15:clr>
        </p15:guide>
        <p15:guide id="8" pos="5155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4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13">
            <a:extLst>
              <a:ext uri="{FF2B5EF4-FFF2-40B4-BE49-F238E27FC236}">
                <a16:creationId xmlns:a16="http://schemas.microsoft.com/office/drawing/2014/main" id="{D648E009-BB98-9E35-EA66-436B411E8A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569" y="1808163"/>
            <a:ext cx="1916450" cy="4537075"/>
          </a:xfrm>
          <a:prstGeom prst="rect">
            <a:avLst/>
          </a:prstGeom>
          <a:solidFill>
            <a:srgbClr val="F8F5F2"/>
          </a:solidFill>
        </p:spPr>
        <p:txBody>
          <a:bodyPr lIns="180000" tIns="144000" rIns="180000" bIns="144000"/>
          <a:lstStyle>
            <a:lvl1pPr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4" name="Text Placeholder 13">
            <a:extLst>
              <a:ext uri="{FF2B5EF4-FFF2-40B4-BE49-F238E27FC236}">
                <a16:creationId xmlns:a16="http://schemas.microsoft.com/office/drawing/2014/main" id="{9563D87D-9B7E-CB86-AD42-793930BBC5F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19363" y="1808163"/>
            <a:ext cx="1917638" cy="4537075"/>
          </a:xfrm>
          <a:prstGeom prst="rect">
            <a:avLst/>
          </a:prstGeom>
          <a:solidFill>
            <a:srgbClr val="F8F5F2"/>
          </a:solidFill>
        </p:spPr>
        <p:txBody>
          <a:bodyPr lIns="180000" tIns="144000" rIns="180000" bIns="144000"/>
          <a:lstStyle>
            <a:lvl1pPr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6" name="Text Placeholder 13">
            <a:extLst>
              <a:ext uri="{FF2B5EF4-FFF2-40B4-BE49-F238E27FC236}">
                <a16:creationId xmlns:a16="http://schemas.microsoft.com/office/drawing/2014/main" id="{B04EEFA6-9DB8-5952-1B19-2DC826ECF7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0346" y="1808163"/>
            <a:ext cx="1944292" cy="4537075"/>
          </a:xfrm>
          <a:prstGeom prst="rect">
            <a:avLst/>
          </a:prstGeom>
          <a:solidFill>
            <a:srgbClr val="F8F5F2"/>
          </a:solidFill>
        </p:spPr>
        <p:txBody>
          <a:bodyPr lIns="180000" tIns="144000" rIns="180000" bIns="144000"/>
          <a:lstStyle>
            <a:lvl1pPr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8" name="Text Placeholder 13">
            <a:extLst>
              <a:ext uri="{FF2B5EF4-FFF2-40B4-BE49-F238E27FC236}">
                <a16:creationId xmlns:a16="http://schemas.microsoft.com/office/drawing/2014/main" id="{52F93D3B-4527-E2A4-E384-5954C4A981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67525" y="1808163"/>
            <a:ext cx="1916906" cy="4537075"/>
          </a:xfrm>
          <a:prstGeom prst="rect">
            <a:avLst/>
          </a:prstGeom>
          <a:solidFill>
            <a:srgbClr val="F8F5F2"/>
          </a:solidFill>
        </p:spPr>
        <p:txBody>
          <a:bodyPr lIns="180000" tIns="144000" rIns="180000" bIns="144000"/>
          <a:lstStyle>
            <a:lvl1pPr>
              <a:defRPr sz="1200" b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C4B228-559C-4EFA-ADBB-4DC30045E541}" type="datetime1">
              <a:rPr lang="de-DE" smtClean="0"/>
              <a:t>29.04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512764"/>
            <a:ext cx="8424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4082161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12">
          <p15:clr>
            <a:srgbClr val="FBAE40"/>
          </p15:clr>
        </p15:guide>
        <p15:guide id="2" pos="2116">
          <p15:clr>
            <a:srgbClr val="FBAE40"/>
          </p15:clr>
        </p15:guide>
        <p15:guide id="5" orient="horz" pos="1139">
          <p15:clr>
            <a:srgbClr val="FBAE40"/>
          </p15:clr>
        </p15:guide>
        <p15:guide id="6" orient="horz" pos="3725">
          <p15:clr>
            <a:srgbClr val="FBAE40"/>
          </p15:clr>
        </p15:guide>
        <p15:guide id="7" pos="3727">
          <p15:clr>
            <a:srgbClr val="FBAE40"/>
          </p15:clr>
        </p15:guide>
        <p15:guide id="8" pos="3931">
          <p15:clr>
            <a:srgbClr val="FBAE40"/>
          </p15:clr>
        </p15:guide>
        <p15:guide id="9" pos="5564">
          <p15:clr>
            <a:srgbClr val="FBAE40"/>
          </p15:clr>
        </p15:guide>
        <p15:guide id="10" pos="576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4/2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3142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5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86DD84-E9A8-4A6F-A7F6-EE8722F042DC}" type="datetime1">
              <a:rPr lang="de-DE" smtClean="0"/>
              <a:t>29.04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512764"/>
            <a:ext cx="8424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0" name="Text Placeholder 59">
            <a:extLst>
              <a:ext uri="{FF2B5EF4-FFF2-40B4-BE49-F238E27FC236}">
                <a16:creationId xmlns:a16="http://schemas.microsoft.com/office/drawing/2014/main" id="{724FCAC5-11F5-9A4C-F9DC-4A81828929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808164"/>
            <a:ext cx="1593000" cy="4537075"/>
          </a:xfrm>
          <a:prstGeom prst="rect">
            <a:avLst/>
          </a:prstGeom>
          <a:solidFill>
            <a:srgbClr val="F8F5F2"/>
          </a:solidFill>
        </p:spPr>
        <p:txBody>
          <a:bodyPr lIns="144000" tIns="144000" rIns="144000"/>
          <a:lstStyle>
            <a:lvl1pPr>
              <a:lnSpc>
                <a:spcPct val="80000"/>
              </a:lnSpc>
              <a:defRPr sz="6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1</a:t>
            </a:r>
            <a:endParaRPr lang="en-US"/>
          </a:p>
        </p:txBody>
      </p:sp>
      <p:sp>
        <p:nvSpPr>
          <p:cNvPr id="61" name="Text Placeholder 59">
            <a:extLst>
              <a:ext uri="{FF2B5EF4-FFF2-40B4-BE49-F238E27FC236}">
                <a16:creationId xmlns:a16="http://schemas.microsoft.com/office/drawing/2014/main" id="{FACD359C-D847-4B82-D96F-7456AFF3D7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67858" y="1808164"/>
            <a:ext cx="1593000" cy="4537075"/>
          </a:xfrm>
          <a:prstGeom prst="rect">
            <a:avLst/>
          </a:prstGeom>
          <a:solidFill>
            <a:srgbClr val="F8F5F2"/>
          </a:solidFill>
        </p:spPr>
        <p:txBody>
          <a:bodyPr lIns="144000" tIns="144000" rIns="144000"/>
          <a:lstStyle>
            <a:lvl1pPr>
              <a:lnSpc>
                <a:spcPct val="80000"/>
              </a:lnSpc>
              <a:defRPr sz="6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2</a:t>
            </a:r>
            <a:endParaRPr lang="en-US"/>
          </a:p>
        </p:txBody>
      </p:sp>
      <p:sp>
        <p:nvSpPr>
          <p:cNvPr id="62" name="Text Placeholder 59">
            <a:extLst>
              <a:ext uri="{FF2B5EF4-FFF2-40B4-BE49-F238E27FC236}">
                <a16:creationId xmlns:a16="http://schemas.microsoft.com/office/drawing/2014/main" id="{3A6CBA61-2475-CC89-F9C3-C02028C81A6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75716" y="1808164"/>
            <a:ext cx="1593000" cy="4537075"/>
          </a:xfrm>
          <a:prstGeom prst="rect">
            <a:avLst/>
          </a:prstGeom>
          <a:solidFill>
            <a:srgbClr val="F8F5F2"/>
          </a:solidFill>
        </p:spPr>
        <p:txBody>
          <a:bodyPr lIns="144000" tIns="144000" rIns="144000"/>
          <a:lstStyle>
            <a:lvl1pPr>
              <a:lnSpc>
                <a:spcPct val="80000"/>
              </a:lnSpc>
              <a:defRPr sz="6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3</a:t>
            </a:r>
            <a:endParaRPr lang="en-US"/>
          </a:p>
        </p:txBody>
      </p:sp>
      <p:sp>
        <p:nvSpPr>
          <p:cNvPr id="63" name="Text Placeholder 59">
            <a:extLst>
              <a:ext uri="{FF2B5EF4-FFF2-40B4-BE49-F238E27FC236}">
                <a16:creationId xmlns:a16="http://schemas.microsoft.com/office/drawing/2014/main" id="{08F4EFE1-28F5-581B-F05D-38EBBE1ED4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83574" y="1808164"/>
            <a:ext cx="1593000" cy="4537075"/>
          </a:xfrm>
          <a:prstGeom prst="rect">
            <a:avLst/>
          </a:prstGeom>
          <a:solidFill>
            <a:srgbClr val="F8F5F2"/>
          </a:solidFill>
        </p:spPr>
        <p:txBody>
          <a:bodyPr lIns="144000" tIns="144000" rIns="144000"/>
          <a:lstStyle>
            <a:lvl1pPr>
              <a:lnSpc>
                <a:spcPct val="80000"/>
              </a:lnSpc>
              <a:defRPr sz="6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4</a:t>
            </a:r>
            <a:endParaRPr lang="en-US"/>
          </a:p>
        </p:txBody>
      </p:sp>
      <p:sp>
        <p:nvSpPr>
          <p:cNvPr id="64" name="Text Placeholder 59">
            <a:extLst>
              <a:ext uri="{FF2B5EF4-FFF2-40B4-BE49-F238E27FC236}">
                <a16:creationId xmlns:a16="http://schemas.microsoft.com/office/drawing/2014/main" id="{AB30CC30-1713-8F61-2722-FED948533C4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91000" y="1808164"/>
            <a:ext cx="1593000" cy="4537075"/>
          </a:xfrm>
          <a:prstGeom prst="rect">
            <a:avLst/>
          </a:prstGeom>
          <a:solidFill>
            <a:srgbClr val="F8F5F2"/>
          </a:solidFill>
        </p:spPr>
        <p:txBody>
          <a:bodyPr lIns="144000" tIns="144000" rIns="144000"/>
          <a:lstStyle>
            <a:lvl1pPr>
              <a:lnSpc>
                <a:spcPct val="80000"/>
              </a:lnSpc>
              <a:defRPr sz="6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5</a:t>
            </a:r>
            <a:endParaRPr lang="en-US"/>
          </a:p>
        </p:txBody>
      </p:sp>
      <p:sp>
        <p:nvSpPr>
          <p:cNvPr id="73" name="Text Placeholder 70">
            <a:extLst>
              <a:ext uri="{FF2B5EF4-FFF2-40B4-BE49-F238E27FC236}">
                <a16:creationId xmlns:a16="http://schemas.microsoft.com/office/drawing/2014/main" id="{FA15A0FC-E301-BBB8-6C26-2D2AA6D60FB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89989" y="3429000"/>
            <a:ext cx="1364456" cy="2484439"/>
          </a:xfrm>
        </p:spPr>
        <p:txBody>
          <a:bodyPr/>
          <a:lstStyle>
            <a:lvl1pPr>
              <a:lnSpc>
                <a:spcPct val="100000"/>
              </a:lnSpc>
              <a:defRPr sz="1200"/>
            </a:lvl1pPr>
          </a:lstStyle>
          <a:p>
            <a:pPr lvl="0"/>
            <a:r>
              <a:rPr lang="en-GB"/>
              <a:t>DD.MM.YYYY</a:t>
            </a:r>
          </a:p>
          <a:p>
            <a:pPr lvl="0"/>
            <a:endParaRPr lang="en-GB"/>
          </a:p>
          <a:p>
            <a:pPr lvl="0"/>
            <a:r>
              <a:rPr lang="en-GB"/>
              <a:t>Next step</a:t>
            </a:r>
          </a:p>
          <a:p>
            <a:pPr lvl="0"/>
            <a:r>
              <a:rPr lang="en-US" b="0" err="1"/>
              <a:t>Fusce</a:t>
            </a:r>
            <a:r>
              <a:rPr lang="en-US" b="0"/>
              <a:t> </a:t>
            </a:r>
            <a:r>
              <a:rPr lang="en-US" b="0" err="1"/>
              <a:t>tristique</a:t>
            </a:r>
            <a:r>
              <a:rPr lang="en-US" b="0"/>
              <a:t>, </a:t>
            </a:r>
            <a:r>
              <a:rPr lang="en-US" b="0" err="1"/>
              <a:t>orci</a:t>
            </a:r>
            <a:r>
              <a:rPr lang="en-US" b="0"/>
              <a:t> </a:t>
            </a:r>
            <a:r>
              <a:rPr lang="en-US" b="0" err="1"/>
              <a:t>nec</a:t>
            </a:r>
            <a:r>
              <a:rPr lang="en-US" b="0"/>
              <a:t> </a:t>
            </a:r>
            <a:r>
              <a:rPr lang="en-US" b="0" err="1"/>
              <a:t>mollis</a:t>
            </a:r>
            <a:r>
              <a:rPr lang="en-US" b="0"/>
              <a:t> </a:t>
            </a:r>
            <a:r>
              <a:rPr lang="en-US" b="0" err="1"/>
              <a:t>aliquet</a:t>
            </a:r>
            <a:r>
              <a:rPr lang="en-US" b="0"/>
              <a:t>, </a:t>
            </a:r>
            <a:r>
              <a:rPr lang="en-US" b="0" err="1"/>
              <a:t>tortor</a:t>
            </a:r>
            <a:r>
              <a:rPr lang="en-US" b="0"/>
              <a:t> </a:t>
            </a:r>
            <a:r>
              <a:rPr lang="en-US" b="0" err="1"/>
              <a:t>velit</a:t>
            </a:r>
            <a:r>
              <a:rPr lang="en-US" b="0"/>
              <a:t> </a:t>
            </a:r>
            <a:r>
              <a:rPr lang="en-US" b="0" err="1"/>
              <a:t>blandit</a:t>
            </a:r>
            <a:r>
              <a:rPr lang="en-US" b="0"/>
              <a:t> </a:t>
            </a:r>
            <a:r>
              <a:rPr lang="en-US" b="0" err="1"/>
              <a:t>urna</a:t>
            </a:r>
            <a:r>
              <a:rPr lang="en-US" b="0"/>
              <a:t>, sed gravida </a:t>
            </a:r>
            <a:r>
              <a:rPr lang="en-US" b="0" err="1"/>
              <a:t>odio</a:t>
            </a:r>
            <a:r>
              <a:rPr lang="en-US" b="0"/>
              <a:t> </a:t>
            </a:r>
            <a:r>
              <a:rPr lang="en-US" b="0" err="1"/>
              <a:t>quam</a:t>
            </a:r>
            <a:r>
              <a:rPr lang="en-US" b="0"/>
              <a:t> </a:t>
            </a:r>
            <a:r>
              <a:rPr lang="en-US" b="0" err="1"/>
              <a:t>ut</a:t>
            </a:r>
            <a:r>
              <a:rPr lang="en-US" b="0"/>
              <a:t> </a:t>
            </a:r>
            <a:r>
              <a:rPr lang="en-US" b="0" err="1"/>
              <a:t>leo</a:t>
            </a:r>
            <a:r>
              <a:rPr lang="en-US" b="0"/>
              <a:t>.</a:t>
            </a:r>
            <a:endParaRPr lang="en-GB"/>
          </a:p>
          <a:p>
            <a:pPr lvl="0"/>
            <a:endParaRPr lang="en-US"/>
          </a:p>
        </p:txBody>
      </p:sp>
      <p:sp>
        <p:nvSpPr>
          <p:cNvPr id="76" name="Text Placeholder 70">
            <a:extLst>
              <a:ext uri="{FF2B5EF4-FFF2-40B4-BE49-F238E27FC236}">
                <a16:creationId xmlns:a16="http://schemas.microsoft.com/office/drawing/2014/main" id="{F884D185-C4E4-F2B6-F85D-0F97BCF7F3C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182131" y="3429000"/>
            <a:ext cx="1364456" cy="2484439"/>
          </a:xfrm>
        </p:spPr>
        <p:txBody>
          <a:bodyPr/>
          <a:lstStyle>
            <a:lvl1pPr>
              <a:lnSpc>
                <a:spcPct val="100000"/>
              </a:lnSpc>
              <a:defRPr sz="1200"/>
            </a:lvl1pPr>
          </a:lstStyle>
          <a:p>
            <a:pPr lvl="0"/>
            <a:r>
              <a:rPr lang="en-GB"/>
              <a:t>DD.MM.YYYY</a:t>
            </a:r>
          </a:p>
          <a:p>
            <a:pPr lvl="0"/>
            <a:endParaRPr lang="en-GB"/>
          </a:p>
          <a:p>
            <a:pPr lvl="0"/>
            <a:r>
              <a:rPr lang="en-GB"/>
              <a:t>Next step</a:t>
            </a:r>
          </a:p>
          <a:p>
            <a:pPr lvl="0"/>
            <a:r>
              <a:rPr lang="en-US" b="0" err="1"/>
              <a:t>Fusce</a:t>
            </a:r>
            <a:r>
              <a:rPr lang="en-US" b="0"/>
              <a:t> </a:t>
            </a:r>
            <a:r>
              <a:rPr lang="en-US" b="0" err="1"/>
              <a:t>tristique</a:t>
            </a:r>
            <a:r>
              <a:rPr lang="en-US" b="0"/>
              <a:t>, </a:t>
            </a:r>
            <a:r>
              <a:rPr lang="en-US" b="0" err="1"/>
              <a:t>orci</a:t>
            </a:r>
            <a:r>
              <a:rPr lang="en-US" b="0"/>
              <a:t> </a:t>
            </a:r>
            <a:r>
              <a:rPr lang="en-US" b="0" err="1"/>
              <a:t>nec</a:t>
            </a:r>
            <a:r>
              <a:rPr lang="en-US" b="0"/>
              <a:t> </a:t>
            </a:r>
            <a:r>
              <a:rPr lang="en-US" b="0" err="1"/>
              <a:t>mollis</a:t>
            </a:r>
            <a:r>
              <a:rPr lang="en-US" b="0"/>
              <a:t> </a:t>
            </a:r>
            <a:r>
              <a:rPr lang="en-US" b="0" err="1"/>
              <a:t>aliquet</a:t>
            </a:r>
            <a:r>
              <a:rPr lang="en-US" b="0"/>
              <a:t>, </a:t>
            </a:r>
            <a:r>
              <a:rPr lang="en-US" b="0" err="1"/>
              <a:t>tortor</a:t>
            </a:r>
            <a:r>
              <a:rPr lang="en-US" b="0"/>
              <a:t> </a:t>
            </a:r>
            <a:r>
              <a:rPr lang="en-US" b="0" err="1"/>
              <a:t>velit</a:t>
            </a:r>
            <a:r>
              <a:rPr lang="en-US" b="0"/>
              <a:t> </a:t>
            </a:r>
            <a:r>
              <a:rPr lang="en-US" b="0" err="1"/>
              <a:t>blandit</a:t>
            </a:r>
            <a:r>
              <a:rPr lang="en-US" b="0"/>
              <a:t> </a:t>
            </a:r>
            <a:r>
              <a:rPr lang="en-US" b="0" err="1"/>
              <a:t>urna</a:t>
            </a:r>
            <a:r>
              <a:rPr lang="en-US" b="0"/>
              <a:t>, sed gravida </a:t>
            </a:r>
            <a:r>
              <a:rPr lang="en-US" b="0" err="1"/>
              <a:t>odio</a:t>
            </a:r>
            <a:r>
              <a:rPr lang="en-US" b="0"/>
              <a:t> </a:t>
            </a:r>
            <a:r>
              <a:rPr lang="en-US" b="0" err="1"/>
              <a:t>quam</a:t>
            </a:r>
            <a:r>
              <a:rPr lang="en-US" b="0"/>
              <a:t> </a:t>
            </a:r>
            <a:r>
              <a:rPr lang="en-US" b="0" err="1"/>
              <a:t>ut</a:t>
            </a:r>
            <a:r>
              <a:rPr lang="en-US" b="0"/>
              <a:t> </a:t>
            </a:r>
            <a:r>
              <a:rPr lang="en-US" b="0" err="1"/>
              <a:t>leo</a:t>
            </a:r>
            <a:r>
              <a:rPr lang="en-US" b="0"/>
              <a:t>.</a:t>
            </a:r>
            <a:endParaRPr lang="en-GB"/>
          </a:p>
          <a:p>
            <a:pPr lvl="0"/>
            <a:endParaRPr lang="en-US"/>
          </a:p>
        </p:txBody>
      </p:sp>
      <p:sp>
        <p:nvSpPr>
          <p:cNvPr id="77" name="Text Placeholder 70">
            <a:extLst>
              <a:ext uri="{FF2B5EF4-FFF2-40B4-BE49-F238E27FC236}">
                <a16:creationId xmlns:a16="http://schemas.microsoft.com/office/drawing/2014/main" id="{049757F1-D506-2C2C-269C-5FC0FDF083E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74273" y="3429000"/>
            <a:ext cx="1364456" cy="2484439"/>
          </a:xfrm>
        </p:spPr>
        <p:txBody>
          <a:bodyPr/>
          <a:lstStyle>
            <a:lvl1pPr>
              <a:lnSpc>
                <a:spcPct val="100000"/>
              </a:lnSpc>
              <a:defRPr sz="1200"/>
            </a:lvl1pPr>
          </a:lstStyle>
          <a:p>
            <a:pPr lvl="0"/>
            <a:r>
              <a:rPr lang="en-GB"/>
              <a:t>DD.MM.YYYY</a:t>
            </a:r>
          </a:p>
          <a:p>
            <a:pPr lvl="0"/>
            <a:endParaRPr lang="en-GB"/>
          </a:p>
          <a:p>
            <a:pPr lvl="0"/>
            <a:r>
              <a:rPr lang="en-GB"/>
              <a:t>Next step</a:t>
            </a:r>
          </a:p>
          <a:p>
            <a:pPr lvl="0"/>
            <a:r>
              <a:rPr lang="en-US" b="0" err="1"/>
              <a:t>Fusce</a:t>
            </a:r>
            <a:r>
              <a:rPr lang="en-US" b="0"/>
              <a:t> </a:t>
            </a:r>
            <a:r>
              <a:rPr lang="en-US" b="0" err="1"/>
              <a:t>tristique</a:t>
            </a:r>
            <a:r>
              <a:rPr lang="en-US" b="0"/>
              <a:t>, </a:t>
            </a:r>
            <a:r>
              <a:rPr lang="en-US" b="0" err="1"/>
              <a:t>orci</a:t>
            </a:r>
            <a:r>
              <a:rPr lang="en-US" b="0"/>
              <a:t> </a:t>
            </a:r>
            <a:r>
              <a:rPr lang="en-US" b="0" err="1"/>
              <a:t>nec</a:t>
            </a:r>
            <a:r>
              <a:rPr lang="en-US" b="0"/>
              <a:t> </a:t>
            </a:r>
            <a:r>
              <a:rPr lang="en-US" b="0" err="1"/>
              <a:t>mollis</a:t>
            </a:r>
            <a:r>
              <a:rPr lang="en-US" b="0"/>
              <a:t> </a:t>
            </a:r>
            <a:r>
              <a:rPr lang="en-US" b="0" err="1"/>
              <a:t>aliquet</a:t>
            </a:r>
            <a:r>
              <a:rPr lang="en-US" b="0"/>
              <a:t>, </a:t>
            </a:r>
            <a:r>
              <a:rPr lang="en-US" b="0" err="1"/>
              <a:t>tortor</a:t>
            </a:r>
            <a:r>
              <a:rPr lang="en-US" b="0"/>
              <a:t> </a:t>
            </a:r>
            <a:r>
              <a:rPr lang="en-US" b="0" err="1"/>
              <a:t>velit</a:t>
            </a:r>
            <a:r>
              <a:rPr lang="en-US" b="0"/>
              <a:t> </a:t>
            </a:r>
            <a:r>
              <a:rPr lang="en-US" b="0" err="1"/>
              <a:t>blandit</a:t>
            </a:r>
            <a:r>
              <a:rPr lang="en-US" b="0"/>
              <a:t> </a:t>
            </a:r>
            <a:r>
              <a:rPr lang="en-US" b="0" err="1"/>
              <a:t>urna</a:t>
            </a:r>
            <a:r>
              <a:rPr lang="en-US" b="0"/>
              <a:t>, sed gravida </a:t>
            </a:r>
            <a:r>
              <a:rPr lang="en-US" b="0" err="1"/>
              <a:t>odio</a:t>
            </a:r>
            <a:r>
              <a:rPr lang="en-US" b="0"/>
              <a:t> </a:t>
            </a:r>
            <a:r>
              <a:rPr lang="en-US" b="0" err="1"/>
              <a:t>quam</a:t>
            </a:r>
            <a:r>
              <a:rPr lang="en-US" b="0"/>
              <a:t> </a:t>
            </a:r>
            <a:r>
              <a:rPr lang="en-US" b="0" err="1"/>
              <a:t>ut</a:t>
            </a:r>
            <a:r>
              <a:rPr lang="en-US" b="0"/>
              <a:t> </a:t>
            </a:r>
            <a:r>
              <a:rPr lang="en-US" b="0" err="1"/>
              <a:t>leo</a:t>
            </a:r>
            <a:r>
              <a:rPr lang="en-US" b="0"/>
              <a:t>.</a:t>
            </a:r>
            <a:endParaRPr lang="en-GB"/>
          </a:p>
          <a:p>
            <a:pPr lvl="0"/>
            <a:endParaRPr lang="en-US"/>
          </a:p>
        </p:txBody>
      </p:sp>
      <p:sp>
        <p:nvSpPr>
          <p:cNvPr id="78" name="Text Placeholder 70">
            <a:extLst>
              <a:ext uri="{FF2B5EF4-FFF2-40B4-BE49-F238E27FC236}">
                <a16:creationId xmlns:a16="http://schemas.microsoft.com/office/drawing/2014/main" id="{B14F01AA-43F5-F834-B7F6-3949E5206A9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597847" y="3429000"/>
            <a:ext cx="1364456" cy="2484439"/>
          </a:xfrm>
        </p:spPr>
        <p:txBody>
          <a:bodyPr/>
          <a:lstStyle>
            <a:lvl1pPr>
              <a:lnSpc>
                <a:spcPct val="100000"/>
              </a:lnSpc>
              <a:defRPr sz="1200"/>
            </a:lvl1pPr>
          </a:lstStyle>
          <a:p>
            <a:pPr lvl="0"/>
            <a:r>
              <a:rPr lang="en-GB"/>
              <a:t>DD.MM.YYYY</a:t>
            </a:r>
          </a:p>
          <a:p>
            <a:pPr lvl="0"/>
            <a:endParaRPr lang="en-GB"/>
          </a:p>
          <a:p>
            <a:pPr lvl="0"/>
            <a:r>
              <a:rPr lang="en-GB"/>
              <a:t>Next step</a:t>
            </a:r>
          </a:p>
          <a:p>
            <a:pPr lvl="0"/>
            <a:r>
              <a:rPr lang="en-US" b="0" err="1"/>
              <a:t>Fusce</a:t>
            </a:r>
            <a:r>
              <a:rPr lang="en-US" b="0"/>
              <a:t> </a:t>
            </a:r>
            <a:r>
              <a:rPr lang="en-US" b="0" err="1"/>
              <a:t>tristique</a:t>
            </a:r>
            <a:r>
              <a:rPr lang="en-US" b="0"/>
              <a:t>, </a:t>
            </a:r>
            <a:r>
              <a:rPr lang="en-US" b="0" err="1"/>
              <a:t>orci</a:t>
            </a:r>
            <a:r>
              <a:rPr lang="en-US" b="0"/>
              <a:t> </a:t>
            </a:r>
            <a:r>
              <a:rPr lang="en-US" b="0" err="1"/>
              <a:t>nec</a:t>
            </a:r>
            <a:r>
              <a:rPr lang="en-US" b="0"/>
              <a:t> </a:t>
            </a:r>
            <a:r>
              <a:rPr lang="en-US" b="0" err="1"/>
              <a:t>mollis</a:t>
            </a:r>
            <a:r>
              <a:rPr lang="en-US" b="0"/>
              <a:t> </a:t>
            </a:r>
            <a:r>
              <a:rPr lang="en-US" b="0" err="1"/>
              <a:t>aliquet</a:t>
            </a:r>
            <a:r>
              <a:rPr lang="en-US" b="0"/>
              <a:t>, </a:t>
            </a:r>
            <a:r>
              <a:rPr lang="en-US" b="0" err="1"/>
              <a:t>tortor</a:t>
            </a:r>
            <a:r>
              <a:rPr lang="en-US" b="0"/>
              <a:t> </a:t>
            </a:r>
            <a:r>
              <a:rPr lang="en-US" b="0" err="1"/>
              <a:t>velit</a:t>
            </a:r>
            <a:r>
              <a:rPr lang="en-US" b="0"/>
              <a:t> </a:t>
            </a:r>
            <a:r>
              <a:rPr lang="en-US" b="0" err="1"/>
              <a:t>blandit</a:t>
            </a:r>
            <a:r>
              <a:rPr lang="en-US" b="0"/>
              <a:t> </a:t>
            </a:r>
            <a:r>
              <a:rPr lang="en-US" b="0" err="1"/>
              <a:t>urna</a:t>
            </a:r>
            <a:r>
              <a:rPr lang="en-US" b="0"/>
              <a:t>, sed gravida </a:t>
            </a:r>
            <a:r>
              <a:rPr lang="en-US" b="0" err="1"/>
              <a:t>odio</a:t>
            </a:r>
            <a:r>
              <a:rPr lang="en-US" b="0"/>
              <a:t> </a:t>
            </a:r>
            <a:r>
              <a:rPr lang="en-US" b="0" err="1"/>
              <a:t>quam</a:t>
            </a:r>
            <a:r>
              <a:rPr lang="en-US" b="0"/>
              <a:t> </a:t>
            </a:r>
            <a:r>
              <a:rPr lang="en-US" b="0" err="1"/>
              <a:t>ut</a:t>
            </a:r>
            <a:r>
              <a:rPr lang="en-US" b="0"/>
              <a:t> </a:t>
            </a:r>
            <a:r>
              <a:rPr lang="en-US" b="0" err="1"/>
              <a:t>leo</a:t>
            </a:r>
            <a:r>
              <a:rPr lang="en-US" b="0"/>
              <a:t>.</a:t>
            </a:r>
            <a:endParaRPr lang="en-GB"/>
          </a:p>
          <a:p>
            <a:pPr lvl="0"/>
            <a:endParaRPr lang="en-US"/>
          </a:p>
        </p:txBody>
      </p:sp>
      <p:sp>
        <p:nvSpPr>
          <p:cNvPr id="79" name="Text Placeholder 70">
            <a:extLst>
              <a:ext uri="{FF2B5EF4-FFF2-40B4-BE49-F238E27FC236}">
                <a16:creationId xmlns:a16="http://schemas.microsoft.com/office/drawing/2014/main" id="{6CE067F8-251E-8C0B-ACA3-8B0217FB0B7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305273" y="3429000"/>
            <a:ext cx="1364456" cy="2484439"/>
          </a:xfrm>
        </p:spPr>
        <p:txBody>
          <a:bodyPr/>
          <a:lstStyle>
            <a:lvl1pPr>
              <a:lnSpc>
                <a:spcPct val="100000"/>
              </a:lnSpc>
              <a:defRPr sz="1200"/>
            </a:lvl1pPr>
          </a:lstStyle>
          <a:p>
            <a:pPr lvl="0"/>
            <a:r>
              <a:rPr lang="en-GB"/>
              <a:t>DD.MM.YYYY</a:t>
            </a:r>
          </a:p>
          <a:p>
            <a:pPr lvl="0"/>
            <a:endParaRPr lang="en-GB"/>
          </a:p>
          <a:p>
            <a:pPr lvl="0"/>
            <a:r>
              <a:rPr lang="en-GB"/>
              <a:t>Next step</a:t>
            </a:r>
          </a:p>
          <a:p>
            <a:pPr lvl="0"/>
            <a:r>
              <a:rPr lang="en-US" b="0" err="1"/>
              <a:t>Fusce</a:t>
            </a:r>
            <a:r>
              <a:rPr lang="en-US" b="0"/>
              <a:t> </a:t>
            </a:r>
            <a:r>
              <a:rPr lang="en-US" b="0" err="1"/>
              <a:t>tristique</a:t>
            </a:r>
            <a:r>
              <a:rPr lang="en-US" b="0"/>
              <a:t>, </a:t>
            </a:r>
            <a:r>
              <a:rPr lang="en-US" b="0" err="1"/>
              <a:t>orci</a:t>
            </a:r>
            <a:r>
              <a:rPr lang="en-US" b="0"/>
              <a:t> </a:t>
            </a:r>
            <a:r>
              <a:rPr lang="en-US" b="0" err="1"/>
              <a:t>nec</a:t>
            </a:r>
            <a:r>
              <a:rPr lang="en-US" b="0"/>
              <a:t> </a:t>
            </a:r>
            <a:r>
              <a:rPr lang="en-US" b="0" err="1"/>
              <a:t>mollis</a:t>
            </a:r>
            <a:r>
              <a:rPr lang="en-US" b="0"/>
              <a:t> </a:t>
            </a:r>
            <a:r>
              <a:rPr lang="en-US" b="0" err="1"/>
              <a:t>aliquet</a:t>
            </a:r>
            <a:r>
              <a:rPr lang="en-US" b="0"/>
              <a:t>, </a:t>
            </a:r>
            <a:r>
              <a:rPr lang="en-US" b="0" err="1"/>
              <a:t>tortor</a:t>
            </a:r>
            <a:r>
              <a:rPr lang="en-US" b="0"/>
              <a:t> </a:t>
            </a:r>
            <a:r>
              <a:rPr lang="en-US" b="0" err="1"/>
              <a:t>velit</a:t>
            </a:r>
            <a:r>
              <a:rPr lang="en-US" b="0"/>
              <a:t> </a:t>
            </a:r>
            <a:r>
              <a:rPr lang="en-US" b="0" err="1"/>
              <a:t>blandit</a:t>
            </a:r>
            <a:r>
              <a:rPr lang="en-US" b="0"/>
              <a:t> </a:t>
            </a:r>
            <a:r>
              <a:rPr lang="en-US" b="0" err="1"/>
              <a:t>urna</a:t>
            </a:r>
            <a:r>
              <a:rPr lang="en-US" b="0"/>
              <a:t>, sed gravida </a:t>
            </a:r>
            <a:r>
              <a:rPr lang="en-US" b="0" err="1"/>
              <a:t>odio</a:t>
            </a:r>
            <a:r>
              <a:rPr lang="en-US" b="0"/>
              <a:t> </a:t>
            </a:r>
            <a:r>
              <a:rPr lang="en-US" b="0" err="1"/>
              <a:t>quam</a:t>
            </a:r>
            <a:r>
              <a:rPr lang="en-US" b="0"/>
              <a:t> </a:t>
            </a:r>
            <a:r>
              <a:rPr lang="en-US" b="0" err="1"/>
              <a:t>ut</a:t>
            </a:r>
            <a:r>
              <a:rPr lang="en-US" b="0"/>
              <a:t> </a:t>
            </a:r>
            <a:r>
              <a:rPr lang="en-US" b="0" err="1"/>
              <a:t>leo</a:t>
            </a:r>
            <a:r>
              <a:rPr lang="en-US" b="0"/>
              <a:t>.</a:t>
            </a:r>
            <a:endParaRPr lang="en-GB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71272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1139">
          <p15:clr>
            <a:srgbClr val="FBAE40"/>
          </p15:clr>
        </p15:guide>
        <p15:guide id="6" orient="horz" pos="3725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9144000" y="6858000"/>
            <a:ext cx="0" cy="0"/>
          </a:xfrm>
        </p:spPr>
        <p:txBody>
          <a:bodyPr anchor="b"/>
          <a:lstStyle>
            <a:lvl1pPr rtl="0">
              <a:defRPr sz="100">
                <a:noFill/>
              </a:defRPr>
            </a:lvl1pPr>
          </a:lstStyle>
          <a:p>
            <a:fld id="{5DAC1E32-435D-471A-ACB3-21A4F0A1D3CD}" type="datetime1">
              <a:rPr lang="de-DE" smtClean="0"/>
              <a:t>29.04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9144000" y="6858000"/>
            <a:ext cx="0" cy="0"/>
          </a:xfrm>
        </p:spPr>
        <p:txBody>
          <a:bodyPr anchor="b"/>
          <a:lstStyle>
            <a:lvl1pPr rtl="0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9" name="Image">
            <a:extLst>
              <a:ext uri="{FF2B5EF4-FFF2-40B4-BE49-F238E27FC236}">
                <a16:creationId xmlns:a16="http://schemas.microsoft.com/office/drawing/2014/main" id="{C8A0EA80-6C56-3462-7962-5C9554E7B4D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07431" y="1"/>
            <a:ext cx="4436569" cy="6858002"/>
          </a:xfrm>
          <a:solidFill>
            <a:schemeClr val="bg1">
              <a:lumMod val="75000"/>
            </a:schemeClr>
          </a:solidFill>
        </p:spPr>
        <p:txBody>
          <a:bodyPr tIns="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Content left">
            <a:extLst>
              <a:ext uri="{FF2B5EF4-FFF2-40B4-BE49-F238E27FC236}">
                <a16:creationId xmlns:a16="http://schemas.microsoft.com/office/drawing/2014/main" id="{7E0D2C93-0AD3-3E6C-D51F-9BCD8E70F76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60431" y="1807199"/>
            <a:ext cx="4077000" cy="410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512764"/>
            <a:ext cx="407746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8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AA3DA913-F435-7661-FD22-506A0DB96E7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009000" y="0"/>
            <a:ext cx="135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533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orient="horz" pos="1139">
          <p15:clr>
            <a:srgbClr val="FBAE40"/>
          </p15:clr>
        </p15:guide>
        <p15:guide id="4" orient="horz" pos="3725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ediu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9144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36D116A9-0E11-484F-B691-832E8042A102}" type="datetime1">
              <a:rPr lang="de-DE" smtClean="0"/>
              <a:t>29.04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0000" y="6526212"/>
            <a:ext cx="2628000" cy="138499"/>
          </a:xfrm>
        </p:spPr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9144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1" name="Image">
            <a:extLst>
              <a:ext uri="{FF2B5EF4-FFF2-40B4-BE49-F238E27FC236}">
                <a16:creationId xmlns:a16="http://schemas.microsoft.com/office/drawing/2014/main" id="{16C5AC2D-3DAF-BE99-F11D-E9E48F025B4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258431" y="1"/>
            <a:ext cx="5885569" cy="6858002"/>
          </a:xfrm>
          <a:solidFill>
            <a:schemeClr val="bg1">
              <a:lumMod val="75000"/>
            </a:schemeClr>
          </a:solidFill>
        </p:spPr>
        <p:txBody>
          <a:bodyPr tIns="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Content left">
            <a:extLst>
              <a:ext uri="{FF2B5EF4-FFF2-40B4-BE49-F238E27FC236}">
                <a16:creationId xmlns:a16="http://schemas.microsoft.com/office/drawing/2014/main" id="{7E0D2C93-0AD3-3E6C-D51F-9BCD8E70F76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60431" y="1807199"/>
            <a:ext cx="2646000" cy="410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512764"/>
            <a:ext cx="2646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pic>
        <p:nvPicPr>
          <p:cNvPr id="8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10AC4D8E-41CB-97B9-6D6F-3F32AFA5945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009000" y="0"/>
            <a:ext cx="135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54877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>
          <p15:clr>
            <a:srgbClr val="FBAE40"/>
          </p15:clr>
        </p15:guide>
        <p15:guide id="2" pos="2735">
          <p15:clr>
            <a:srgbClr val="FBAE40"/>
          </p15:clr>
        </p15:guide>
        <p15:guide id="3" orient="horz" pos="1139">
          <p15:clr>
            <a:srgbClr val="FBAE40"/>
          </p15:clr>
        </p15:guide>
        <p15:guide id="4" orient="horz" pos="3725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9144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FE33E8F-198E-402C-9B3D-86265865AAA1}" type="datetime1">
              <a:rPr lang="de-DE" smtClean="0"/>
              <a:t>29.04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9144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9144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Image">
            <a:extLst>
              <a:ext uri="{FF2B5EF4-FFF2-40B4-BE49-F238E27FC236}">
                <a16:creationId xmlns:a16="http://schemas.microsoft.com/office/drawing/2014/main" id="{784C63FE-DE3B-3EE9-CC4E-6277924B199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" y="1807199"/>
            <a:ext cx="4599386" cy="5050801"/>
          </a:xfrm>
          <a:solidFill>
            <a:schemeClr val="bg1">
              <a:lumMod val="75000"/>
            </a:schemeClr>
          </a:solidFill>
        </p:spPr>
        <p:txBody>
          <a:bodyPr tIns="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512764"/>
            <a:ext cx="8424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err="1"/>
              <a:t>Two</a:t>
            </a:r>
            <a:r>
              <a:rPr lang="de-DE"/>
              <a:t> Images Slide</a:t>
            </a:r>
          </a:p>
        </p:txBody>
      </p:sp>
      <p:sp>
        <p:nvSpPr>
          <p:cNvPr id="10" name="Image">
            <a:extLst>
              <a:ext uri="{FF2B5EF4-FFF2-40B4-BE49-F238E27FC236}">
                <a16:creationId xmlns:a16="http://schemas.microsoft.com/office/drawing/2014/main" id="{936BB358-D532-3EBE-A492-9D8C8B48C9A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99385" y="1807199"/>
            <a:ext cx="4542131" cy="5050801"/>
          </a:xfrm>
          <a:solidFill>
            <a:schemeClr val="bg1">
              <a:lumMod val="85000"/>
            </a:schemeClr>
          </a:solidFill>
        </p:spPr>
        <p:txBody>
          <a:bodyPr tIns="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7842898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  <p15:guide id="2" pos="386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9144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4E36ECD7-942D-4F88-A4ED-442BCC2DCFD1}" type="datetime1">
              <a:rPr lang="de-DE" smtClean="0"/>
              <a:t>29.04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9144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9144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Image">
            <a:extLst>
              <a:ext uri="{FF2B5EF4-FFF2-40B4-BE49-F238E27FC236}">
                <a16:creationId xmlns:a16="http://schemas.microsoft.com/office/drawing/2014/main" id="{784C63FE-DE3B-3EE9-CC4E-6277924B199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807199"/>
            <a:ext cx="9144000" cy="5050801"/>
          </a:xfrm>
          <a:solidFill>
            <a:schemeClr val="bg1">
              <a:lumMod val="75000"/>
            </a:schemeClr>
          </a:solidFill>
        </p:spPr>
        <p:txBody>
          <a:bodyPr tIns="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4FA448A-A5A1-F5E7-8038-8DB3FB9B20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2183548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mage">
            <a:extLst>
              <a:ext uri="{FF2B5EF4-FFF2-40B4-BE49-F238E27FC236}">
                <a16:creationId xmlns:a16="http://schemas.microsoft.com/office/drawing/2014/main" id="{784C63FE-DE3B-3EE9-CC4E-6277924B199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9144000" cy="6857999"/>
          </a:xfrm>
          <a:solidFill>
            <a:schemeClr val="bg1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de-DE" dirty="0"/>
            </a:lvl1pPr>
          </a:lstStyle>
          <a:p>
            <a:pPr lvl="0" algn="ctr"/>
            <a:r>
              <a:rPr lang="de-DE"/>
              <a:t>Bild durch Klicken auf Symbol hinzufügen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FA870E17-585B-25EC-91D4-D2E89C0104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144594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9144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E18D412-3657-4BB6-AD9E-8F8927220972}" type="datetime1">
              <a:rPr lang="de-DE" smtClean="0"/>
              <a:t>29.04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9144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9144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Image">
            <a:extLst>
              <a:ext uri="{FF2B5EF4-FFF2-40B4-BE49-F238E27FC236}">
                <a16:creationId xmlns:a16="http://schemas.microsoft.com/office/drawing/2014/main" id="{2D008FD9-6F72-6E1D-DD0B-A041002F0B3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6858000"/>
          </a:xfrm>
          <a:solidFill>
            <a:schemeClr val="bg1">
              <a:lumMod val="75000"/>
            </a:schemeClr>
          </a:solidFill>
        </p:spPr>
        <p:txBody>
          <a:bodyPr tIns="0" anchor="ctr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6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E1DE837E-4AC1-1B52-FD1F-FF041FBEE3F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009000" y="0"/>
            <a:ext cx="135000" cy="180000"/>
          </a:xfrm>
          <a:prstGeom prst="rect">
            <a:avLst/>
          </a:prstGeom>
        </p:spPr>
      </p:pic>
      <p:pic>
        <p:nvPicPr>
          <p:cNvPr id="7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FBDEFF21-870F-0D9C-E524-8E876F8EEAE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009000" y="0"/>
            <a:ext cx="135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04453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4F9980-FF42-46F8-BA45-8ED7CC852C09}" type="datetime1">
              <a:rPr lang="de-DE" smtClean="0"/>
              <a:t>29.04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512764"/>
            <a:ext cx="8424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86928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  <p15:guide id="2" orient="horz" pos="3725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itle only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background">
            <a:extLst>
              <a:ext uri="{FF2B5EF4-FFF2-40B4-BE49-F238E27FC236}">
                <a16:creationId xmlns:a16="http://schemas.microsoft.com/office/drawing/2014/main" id="{7A445AAD-DA93-44A7-A716-6A7756ED6265}"/>
              </a:ext>
            </a:extLst>
          </p:cNvPr>
          <p:cNvSpPr/>
          <p:nvPr userDrawn="1"/>
        </p:nvSpPr>
        <p:spPr>
          <a:xfrm>
            <a:off x="0" y="1"/>
            <a:ext cx="9144000" cy="6857999"/>
          </a:xfrm>
          <a:prstGeom prst="rect">
            <a:avLst/>
          </a:prstGeom>
          <a:solidFill>
            <a:srgbClr val="F8F5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C1FD67-5AC3-48D2-93CC-C768ACB7D8A9}" type="datetime1">
              <a:rPr lang="de-DE" smtClean="0"/>
              <a:t>29.04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512764"/>
            <a:ext cx="8424000" cy="886397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116853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  <p15:guide id="2" orient="horz" pos="3725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9144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3A3F624D-B71B-4876-B823-644FE751C559}" type="datetime1">
              <a:rPr lang="de-DE" smtClean="0"/>
              <a:t>29.04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9144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9144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71959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4/2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064837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A288C1-2EF9-411B-BF15-A8F1DEE44FCE}" type="datetime1">
              <a:rPr lang="de-DE" smtClean="0"/>
              <a:t>29.04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0118254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/Tab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background">
            <a:extLst>
              <a:ext uri="{FF2B5EF4-FFF2-40B4-BE49-F238E27FC236}">
                <a16:creationId xmlns:a16="http://schemas.microsoft.com/office/drawing/2014/main" id="{55C950C9-43EF-39C3-FF01-39DDE884BF08}"/>
              </a:ext>
            </a:extLst>
          </p:cNvPr>
          <p:cNvSpPr/>
          <p:nvPr userDrawn="1"/>
        </p:nvSpPr>
        <p:spPr>
          <a:xfrm>
            <a:off x="0" y="1"/>
            <a:ext cx="5868591" cy="6857999"/>
          </a:xfrm>
          <a:prstGeom prst="rect">
            <a:avLst/>
          </a:prstGeom>
          <a:solidFill>
            <a:srgbClr val="F8F5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FA3A2-FB40-498F-998C-3A668C0C25AC}" type="datetime1">
              <a:rPr lang="de-DE" smtClean="0"/>
              <a:t>29.04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6" name="Content right">
            <a:extLst>
              <a:ext uri="{FF2B5EF4-FFF2-40B4-BE49-F238E27FC236}">
                <a16:creationId xmlns:a16="http://schemas.microsoft.com/office/drawing/2014/main" id="{0ED697D8-4001-2C2F-6C69-6C69F0A9DA4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37672" y="1807199"/>
            <a:ext cx="2646759" cy="41040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37672" y="512764"/>
            <a:ext cx="2646327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4" name="Chart Footnote/Source">
            <a:extLst>
              <a:ext uri="{FF2B5EF4-FFF2-40B4-BE49-F238E27FC236}">
                <a16:creationId xmlns:a16="http://schemas.microsoft.com/office/drawing/2014/main" id="{8388A654-05DA-46BD-2557-D2D34395DB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1" y="5759168"/>
            <a:ext cx="5319281" cy="151323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75" b="0"/>
            </a:lvl1pPr>
          </a:lstStyle>
          <a:p>
            <a:pPr lvl="0"/>
            <a:r>
              <a:rPr lang="de-DE" err="1"/>
              <a:t>Footnote</a:t>
            </a:r>
            <a:r>
              <a:rPr lang="de-DE"/>
              <a:t>/Source</a:t>
            </a:r>
          </a:p>
        </p:txBody>
      </p:sp>
      <p:sp>
        <p:nvSpPr>
          <p:cNvPr id="7" name="Content left">
            <a:extLst>
              <a:ext uri="{FF2B5EF4-FFF2-40B4-BE49-F238E27FC236}">
                <a16:creationId xmlns:a16="http://schemas.microsoft.com/office/drawing/2014/main" id="{7E0D2C93-0AD3-3E6C-D51F-9BCD8E70F76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60430" y="1399160"/>
            <a:ext cx="5318851" cy="42620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Insert </a:t>
            </a:r>
            <a:r>
              <a:rPr lang="de-DE" err="1"/>
              <a:t>graph</a:t>
            </a:r>
            <a:r>
              <a:rPr lang="de-DE"/>
              <a:t>/</a:t>
            </a:r>
            <a:r>
              <a:rPr lang="de-DE" err="1"/>
              <a:t>table</a:t>
            </a:r>
            <a:endParaRPr lang="de-DE"/>
          </a:p>
        </p:txBody>
      </p:sp>
      <p:sp>
        <p:nvSpPr>
          <p:cNvPr id="12" name="Chart Subtitle">
            <a:extLst>
              <a:ext uri="{FF2B5EF4-FFF2-40B4-BE49-F238E27FC236}">
                <a16:creationId xmlns:a16="http://schemas.microsoft.com/office/drawing/2014/main" id="{1176B54B-A8DF-1176-D781-146DE34A5EF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0001" y="851411"/>
            <a:ext cx="5319281" cy="302647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de-DE"/>
              <a:t>Unit </a:t>
            </a:r>
            <a:r>
              <a:rPr lang="de-DE" err="1"/>
              <a:t>measure</a:t>
            </a:r>
            <a:endParaRPr lang="de-DE"/>
          </a:p>
        </p:txBody>
      </p:sp>
      <p:sp>
        <p:nvSpPr>
          <p:cNvPr id="11" name="Chart Title">
            <a:extLst>
              <a:ext uri="{FF2B5EF4-FFF2-40B4-BE49-F238E27FC236}">
                <a16:creationId xmlns:a16="http://schemas.microsoft.com/office/drawing/2014/main" id="{0C1D1F4B-9BF8-DFAD-1852-35C89F0628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01" y="512764"/>
            <a:ext cx="5319281" cy="302647"/>
          </a:xfrm>
        </p:spPr>
        <p:txBody>
          <a:bodyPr>
            <a:noAutofit/>
          </a:bodyPr>
          <a:lstStyle>
            <a:lvl1pPr>
              <a:defRPr b="1"/>
            </a:lvl1pPr>
          </a:lstStyle>
          <a:p>
            <a:pPr lvl="0"/>
            <a:r>
              <a:rPr lang="de-DE"/>
              <a:t>Chart title</a:t>
            </a:r>
          </a:p>
        </p:txBody>
      </p:sp>
    </p:spTree>
    <p:extLst>
      <p:ext uri="{BB962C8B-B14F-4D97-AF65-F5344CB8AC3E}">
        <p14:creationId xmlns:p14="http://schemas.microsoft.com/office/powerpoint/2010/main" val="4281082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55">
          <p15:clr>
            <a:srgbClr val="FBAE40"/>
          </p15:clr>
        </p15:guide>
        <p15:guide id="3" pos="4770">
          <p15:clr>
            <a:srgbClr val="FBAE40"/>
          </p15:clr>
        </p15:guide>
        <p15:guide id="4" orient="horz" pos="372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/Tab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background">
            <a:extLst>
              <a:ext uri="{FF2B5EF4-FFF2-40B4-BE49-F238E27FC236}">
                <a16:creationId xmlns:a16="http://schemas.microsoft.com/office/drawing/2014/main" id="{55C950C9-43EF-39C3-FF01-39DDE884BF08}"/>
              </a:ext>
            </a:extLst>
          </p:cNvPr>
          <p:cNvSpPr/>
          <p:nvPr userDrawn="1"/>
        </p:nvSpPr>
        <p:spPr>
          <a:xfrm>
            <a:off x="4706541" y="1"/>
            <a:ext cx="4437459" cy="6857999"/>
          </a:xfrm>
          <a:prstGeom prst="rect">
            <a:avLst/>
          </a:prstGeom>
          <a:solidFill>
            <a:srgbClr val="F8F5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32DBB6-AD79-419C-8222-F33A3A2E361F}" type="datetime1">
              <a:rPr lang="de-DE" smtClean="0"/>
              <a:t>29.04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6" name="Content right">
            <a:extLst>
              <a:ext uri="{FF2B5EF4-FFF2-40B4-BE49-F238E27FC236}">
                <a16:creationId xmlns:a16="http://schemas.microsoft.com/office/drawing/2014/main" id="{0ED697D8-4001-2C2F-6C69-6C69F0A9DA4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59999" y="1807199"/>
            <a:ext cx="3726226" cy="41040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999" y="512764"/>
            <a:ext cx="3726225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7" name="Content left">
            <a:extLst>
              <a:ext uri="{FF2B5EF4-FFF2-40B4-BE49-F238E27FC236}">
                <a16:creationId xmlns:a16="http://schemas.microsoft.com/office/drawing/2014/main" id="{7E0D2C93-0AD3-3E6C-D51F-9BCD8E70F76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057775" y="512762"/>
            <a:ext cx="3726225" cy="451427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Insert </a:t>
            </a:r>
            <a:r>
              <a:rPr lang="de-DE" err="1"/>
              <a:t>graph</a:t>
            </a:r>
            <a:r>
              <a:rPr lang="de-DE"/>
              <a:t>/</a:t>
            </a:r>
            <a:r>
              <a:rPr lang="de-DE" err="1"/>
              <a:t>table</a:t>
            </a:r>
            <a:endParaRPr lang="de-DE"/>
          </a:p>
        </p:txBody>
      </p:sp>
      <p:sp>
        <p:nvSpPr>
          <p:cNvPr id="12" name="Chart Subtitle">
            <a:extLst>
              <a:ext uri="{FF2B5EF4-FFF2-40B4-BE49-F238E27FC236}">
                <a16:creationId xmlns:a16="http://schemas.microsoft.com/office/drawing/2014/main" id="{1176B54B-A8DF-1176-D781-146DE34A5EF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57474" y="5598357"/>
            <a:ext cx="3726527" cy="302647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de-DE"/>
              <a:t>Unit </a:t>
            </a:r>
            <a:r>
              <a:rPr lang="de-DE" err="1"/>
              <a:t>measure</a:t>
            </a:r>
            <a:endParaRPr lang="de-DE"/>
          </a:p>
        </p:txBody>
      </p:sp>
      <p:sp>
        <p:nvSpPr>
          <p:cNvPr id="11" name="Chart Title">
            <a:extLst>
              <a:ext uri="{FF2B5EF4-FFF2-40B4-BE49-F238E27FC236}">
                <a16:creationId xmlns:a16="http://schemas.microsoft.com/office/drawing/2014/main" id="{0C1D1F4B-9BF8-DFAD-1852-35C89F0628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57474" y="5259710"/>
            <a:ext cx="3726527" cy="302647"/>
          </a:xfrm>
        </p:spPr>
        <p:txBody>
          <a:bodyPr>
            <a:noAutofit/>
          </a:bodyPr>
          <a:lstStyle>
            <a:lvl1pPr>
              <a:defRPr b="1"/>
            </a:lvl1pPr>
          </a:lstStyle>
          <a:p>
            <a:pPr lvl="0"/>
            <a:r>
              <a:rPr lang="de-DE"/>
              <a:t>Chart title</a:t>
            </a:r>
          </a:p>
        </p:txBody>
      </p:sp>
    </p:spTree>
    <p:extLst>
      <p:ext uri="{BB962C8B-B14F-4D97-AF65-F5344CB8AC3E}">
        <p14:creationId xmlns:p14="http://schemas.microsoft.com/office/powerpoint/2010/main" val="39898431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3" pos="3727">
          <p15:clr>
            <a:srgbClr val="FBAE40"/>
          </p15:clr>
        </p15:guide>
        <p15:guide id="4" orient="horz" pos="3725">
          <p15:clr>
            <a:srgbClr val="FBAE40"/>
          </p15:clr>
        </p15:guide>
        <p15:guide id="5" pos="4248">
          <p15:clr>
            <a:srgbClr val="FBAE40"/>
          </p15:clr>
        </p15:guide>
        <p15:guide id="6" pos="3432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E264AB6-0912-0D16-C25D-076324069926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54000">
                <a:srgbClr val="EA1B0A"/>
              </a:gs>
              <a:gs pos="98000">
                <a:srgbClr val="96148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 defTabSz="405000">
              <a:lnSpc>
                <a:spcPct val="120000"/>
              </a:lnSpc>
              <a:spcAft>
                <a:spcPts val="300"/>
              </a:spcAft>
            </a:pPr>
            <a:endParaRPr lang="en-US" sz="105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9144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1FEF89A7-369D-43E4-BA9B-0B8C67CA6B0D}" type="datetime1">
              <a:rPr lang="de-DE" smtClean="0"/>
              <a:t>29.04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9144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9144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1" name="Number">
            <a:extLst>
              <a:ext uri="{FF2B5EF4-FFF2-40B4-BE49-F238E27FC236}">
                <a16:creationId xmlns:a16="http://schemas.microsoft.com/office/drawing/2014/main" id="{7700F044-4E4D-F142-70CF-491ED467D8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4134434"/>
            <a:ext cx="1890000" cy="2723566"/>
          </a:xfrm>
        </p:spPr>
        <p:txBody>
          <a:bodyPr wrap="none">
            <a:noAutofit/>
          </a:bodyPr>
          <a:lstStyle>
            <a:lvl1pPr>
              <a:defRPr sz="1215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512764"/>
            <a:ext cx="8424431" cy="1809647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525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/>
              <a:t>Titel des </a:t>
            </a:r>
            <a:r>
              <a:rPr lang="de-DE" err="1"/>
              <a:t>kapitels</a:t>
            </a:r>
            <a:endParaRPr lang="de-DE"/>
          </a:p>
        </p:txBody>
      </p:sp>
      <p:pic>
        <p:nvPicPr>
          <p:cNvPr id="6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EC079F7D-79FF-41AB-124C-407E69AFC13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009000" y="0"/>
            <a:ext cx="135000" cy="180000"/>
          </a:xfrm>
          <a:prstGeom prst="rect">
            <a:avLst/>
          </a:prstGeom>
        </p:spPr>
      </p:pic>
      <p:pic>
        <p:nvPicPr>
          <p:cNvPr id="8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ECF06861-9D4E-FDEF-993D-96CA6FA8BC5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009000" y="0"/>
            <a:ext cx="135000" cy="180000"/>
          </a:xfrm>
          <a:prstGeom prst="rect">
            <a:avLst/>
          </a:prstGeom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986D6CD-FB18-19C2-A75E-33EDA5AF8E0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59568" y="2331937"/>
            <a:ext cx="4833501" cy="1557151"/>
          </a:xfrm>
        </p:spPr>
        <p:txBody>
          <a:bodyPr/>
          <a:lstStyle>
            <a:lvl1pPr>
              <a:lnSpc>
                <a:spcPct val="900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391279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mage">
            <a:extLst>
              <a:ext uri="{FF2B5EF4-FFF2-40B4-BE49-F238E27FC236}">
                <a16:creationId xmlns:a16="http://schemas.microsoft.com/office/drawing/2014/main" id="{2D008FD9-6F72-6E1D-DD0B-A041002F0B3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6858000"/>
          </a:xfrm>
          <a:solidFill>
            <a:srgbClr val="999999"/>
          </a:solidFill>
        </p:spPr>
        <p:txBody>
          <a:bodyPr tIns="360000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9144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93253EA9-334A-4257-831A-7A3745D6E8C4}" type="datetime1">
              <a:rPr lang="de-DE" smtClean="0"/>
              <a:t>29.04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9144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9144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1" name="Number">
            <a:extLst>
              <a:ext uri="{FF2B5EF4-FFF2-40B4-BE49-F238E27FC236}">
                <a16:creationId xmlns:a16="http://schemas.microsoft.com/office/drawing/2014/main" id="{7700F044-4E4D-F142-70CF-491ED467D8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4134434"/>
            <a:ext cx="1890000" cy="2723566"/>
          </a:xfrm>
        </p:spPr>
        <p:txBody>
          <a:bodyPr wrap="none">
            <a:noAutofit/>
          </a:bodyPr>
          <a:lstStyle>
            <a:lvl1pPr>
              <a:defRPr sz="1215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512764"/>
            <a:ext cx="8424431" cy="1819173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525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/>
              <a:t>Titel des </a:t>
            </a:r>
            <a:r>
              <a:rPr lang="de-DE" err="1"/>
              <a:t>kapitels</a:t>
            </a:r>
            <a:endParaRPr lang="de-DE"/>
          </a:p>
        </p:txBody>
      </p:sp>
      <p:pic>
        <p:nvPicPr>
          <p:cNvPr id="6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E1DE837E-4AC1-1B52-FD1F-FF041FBEE3F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009000" y="0"/>
            <a:ext cx="135000" cy="180000"/>
          </a:xfrm>
          <a:prstGeom prst="rect">
            <a:avLst/>
          </a:prstGeom>
        </p:spPr>
      </p:pic>
      <p:pic>
        <p:nvPicPr>
          <p:cNvPr id="7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FBDEFF21-870F-0D9C-E524-8E876F8EEAE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009000" y="0"/>
            <a:ext cx="135000" cy="180000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7E3AB64-3C77-CE4A-0503-7D8207B8D85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59569" y="2331936"/>
            <a:ext cx="4482461" cy="1547626"/>
          </a:xfrm>
        </p:spPr>
        <p:txBody>
          <a:bodyPr/>
          <a:lstStyle>
            <a:lvl1pPr>
              <a:lnSpc>
                <a:spcPct val="900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4024084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74215170-0B6B-5D5C-3956-42FA14BA3E66}"/>
              </a:ext>
            </a:extLst>
          </p:cNvPr>
          <p:cNvSpPr/>
          <p:nvPr userDrawn="1"/>
        </p:nvSpPr>
        <p:spPr>
          <a:xfrm>
            <a:off x="0" y="-1"/>
            <a:ext cx="4706541" cy="6858000"/>
          </a:xfrm>
          <a:prstGeom prst="rect">
            <a:avLst/>
          </a:prstGeom>
          <a:gradFill flip="none" rotWithShape="1">
            <a:gsLst>
              <a:gs pos="63000">
                <a:srgbClr val="EA1B0A"/>
              </a:gs>
              <a:gs pos="100000">
                <a:srgbClr val="961482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 defTabSz="405000">
              <a:lnSpc>
                <a:spcPct val="120000"/>
              </a:lnSpc>
              <a:spcAft>
                <a:spcPts val="300"/>
              </a:spcAft>
            </a:pPr>
            <a:endParaRPr lang="en-US" sz="105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9144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D9A1D480-3A00-49E8-9E65-75F93218EAFE}" type="datetime1">
              <a:rPr lang="de-DE" smtClean="0"/>
              <a:t>29.04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9144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9144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Image">
            <a:extLst>
              <a:ext uri="{FF2B5EF4-FFF2-40B4-BE49-F238E27FC236}">
                <a16:creationId xmlns:a16="http://schemas.microsoft.com/office/drawing/2014/main" id="{2D008FD9-6F72-6E1D-DD0B-A041002F0B3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706541" y="1"/>
            <a:ext cx="4437459" cy="6857999"/>
          </a:xfrm>
          <a:solidFill>
            <a:srgbClr val="999999"/>
          </a:solidFill>
        </p:spPr>
        <p:txBody>
          <a:bodyPr tIns="360000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1" name="Number">
            <a:extLst>
              <a:ext uri="{FF2B5EF4-FFF2-40B4-BE49-F238E27FC236}">
                <a16:creationId xmlns:a16="http://schemas.microsoft.com/office/drawing/2014/main" id="{7700F044-4E4D-F142-70CF-491ED467D8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4134434"/>
            <a:ext cx="1890000" cy="2723566"/>
          </a:xfrm>
        </p:spPr>
        <p:txBody>
          <a:bodyPr wrap="none">
            <a:noAutofit/>
          </a:bodyPr>
          <a:lstStyle>
            <a:lvl1pPr>
              <a:defRPr sz="1215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512763"/>
            <a:ext cx="4077460" cy="2916236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525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/>
              <a:t>Mastertitel</a:t>
            </a:r>
            <a:br>
              <a:rPr lang="de-DE"/>
            </a:br>
            <a:r>
              <a:rPr lang="de-DE"/>
              <a:t>bearbeiten</a:t>
            </a:r>
          </a:p>
        </p:txBody>
      </p:sp>
      <p:pic>
        <p:nvPicPr>
          <p:cNvPr id="6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B16AC418-7DF3-FC4A-3FE3-EB675B6D8F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009000" y="0"/>
            <a:ext cx="135000" cy="180000"/>
          </a:xfrm>
          <a:prstGeom prst="rect">
            <a:avLst/>
          </a:prstGeom>
        </p:spPr>
      </p:pic>
      <p:pic>
        <p:nvPicPr>
          <p:cNvPr id="7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1DAE23C1-FA80-8A1B-7E1D-9EF6DB6801A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009000" y="0"/>
            <a:ext cx="135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5915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8438835-2655-8DCA-404E-79083CC384B7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73000">
                <a:srgbClr val="EA1B0A"/>
              </a:gs>
              <a:gs pos="100000">
                <a:srgbClr val="961482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 defTabSz="405000">
              <a:lnSpc>
                <a:spcPct val="120000"/>
              </a:lnSpc>
              <a:spcAft>
                <a:spcPts val="300"/>
              </a:spcAft>
            </a:pPr>
            <a:endParaRPr lang="en-US" sz="105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D89DC9A-FBE8-D440-F9E1-B90DCE3E7EC9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9144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FC218E40-602D-409F-AEDF-086C7AFBB8EC}" type="datetime1">
              <a:rPr lang="de-DE" smtClean="0"/>
              <a:t>29.04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7627D1-B40C-E389-8DD5-0DD1E92EA48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9144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65A4D41-9BDD-B66B-9FB7-CE532CA1E31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9144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9" name="Contact information">
            <a:extLst>
              <a:ext uri="{FF2B5EF4-FFF2-40B4-BE49-F238E27FC236}">
                <a16:creationId xmlns:a16="http://schemas.microsoft.com/office/drawing/2014/main" id="{711219D6-CE9D-0F40-A923-24FB0FE247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3212977"/>
            <a:ext cx="4077000" cy="235385"/>
          </a:xfrm>
        </p:spPr>
        <p:txBody>
          <a:bodyPr>
            <a:noAutofit/>
          </a:bodyPr>
          <a:lstStyle>
            <a:lvl1pPr>
              <a:defRPr sz="105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contact</a:t>
            </a:r>
            <a:r>
              <a:rPr lang="de-DE"/>
              <a:t> Information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33495D4A-F00D-763A-E57E-AF2EFD0C60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2865601"/>
            <a:ext cx="4077000" cy="302647"/>
          </a:xfrm>
        </p:spPr>
        <p:txBody>
          <a:bodyPr>
            <a:noAutofit/>
          </a:bodyPr>
          <a:lstStyle>
            <a:lvl1pPr>
              <a:defRPr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name</a:t>
            </a:r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9906940-4A55-7491-73FA-F7C757B94F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512765"/>
            <a:ext cx="6966001" cy="689469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360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/>
              <a:t>Edit </a:t>
            </a:r>
            <a:r>
              <a:rPr lang="de-DE" err="1"/>
              <a:t>closing</a:t>
            </a:r>
            <a:r>
              <a:rPr lang="de-DE"/>
              <a:t> </a:t>
            </a:r>
            <a:r>
              <a:rPr lang="de-DE" err="1"/>
              <a:t>statement</a:t>
            </a:r>
            <a:endParaRPr lang="de-DE"/>
          </a:p>
        </p:txBody>
      </p:sp>
      <p:pic>
        <p:nvPicPr>
          <p:cNvPr id="11" name="MIO_AGENDA_LAST_SLIDE" descr="Schließen mit einfarbiger Füllung" hidden="1">
            <a:extLst>
              <a:ext uri="{FF2B5EF4-FFF2-40B4-BE49-F238E27FC236}">
                <a16:creationId xmlns:a16="http://schemas.microsoft.com/office/drawing/2014/main" id="{63464D1A-B18E-D090-1C9D-E945B394C3E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009000" y="0"/>
            <a:ext cx="135000" cy="180000"/>
          </a:xfrm>
          <a:prstGeom prst="rect">
            <a:avLst/>
          </a:prstGeom>
        </p:spPr>
      </p:pic>
      <p:pic>
        <p:nvPicPr>
          <p:cNvPr id="12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E5083936-085C-48AA-540F-DA08BAD5EEE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009000" y="0"/>
            <a:ext cx="135000" cy="180000"/>
          </a:xfrm>
          <a:prstGeom prst="rect">
            <a:avLst/>
          </a:prstGeom>
        </p:spPr>
      </p:pic>
      <p:pic>
        <p:nvPicPr>
          <p:cNvPr id="13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91DF28A4-A76B-1B84-FFC1-3596AF8A00A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009000" y="0"/>
            <a:ext cx="135000" cy="180000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FC7B165-BDDA-78D9-22D2-E6CC395C0CF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59569" y="1202234"/>
            <a:ext cx="6966001" cy="635639"/>
          </a:xfrm>
        </p:spPr>
        <p:txBody>
          <a:bodyPr/>
          <a:lstStyle>
            <a:lvl1pPr>
              <a:lnSpc>
                <a:spcPct val="80000"/>
              </a:lnSpc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E.ON Logo">
            <a:extLst>
              <a:ext uri="{FF2B5EF4-FFF2-40B4-BE49-F238E27FC236}">
                <a16:creationId xmlns:a16="http://schemas.microsoft.com/office/drawing/2014/main" id="{404EC8AB-7FB9-DD09-32D3-29B6F4B7B61F}"/>
              </a:ext>
            </a:extLst>
          </p:cNvPr>
          <p:cNvSpPr/>
          <p:nvPr userDrawn="1"/>
        </p:nvSpPr>
        <p:spPr>
          <a:xfrm>
            <a:off x="359569" y="5891142"/>
            <a:ext cx="1234916" cy="454095"/>
          </a:xfrm>
          <a:custGeom>
            <a:avLst/>
            <a:gdLst>
              <a:gd name="connsiteX0" fmla="*/ 1202810 w 1761324"/>
              <a:gd name="connsiteY0" fmla="*/ 180152 h 485747"/>
              <a:gd name="connsiteX1" fmla="*/ 1141362 w 1761324"/>
              <a:gd name="connsiteY1" fmla="*/ 352260 h 485747"/>
              <a:gd name="connsiteX2" fmla="*/ 957018 w 1761324"/>
              <a:gd name="connsiteY2" fmla="*/ 475637 h 485747"/>
              <a:gd name="connsiteX3" fmla="*/ 731528 w 1761324"/>
              <a:gd name="connsiteY3" fmla="*/ 367812 h 485747"/>
              <a:gd name="connsiteX4" fmla="*/ 793529 w 1761324"/>
              <a:gd name="connsiteY4" fmla="*/ 213329 h 485747"/>
              <a:gd name="connsiteX5" fmla="*/ 1135331 w 1761324"/>
              <a:gd name="connsiteY5" fmla="*/ 103429 h 485747"/>
              <a:gd name="connsiteX6" fmla="*/ 1202810 w 1761324"/>
              <a:gd name="connsiteY6" fmla="*/ 180151 h 485747"/>
              <a:gd name="connsiteX7" fmla="*/ 1202810 w 1761324"/>
              <a:gd name="connsiteY7" fmla="*/ 180152 h 485747"/>
              <a:gd name="connsiteX8" fmla="*/ 994873 w 1761324"/>
              <a:gd name="connsiteY8" fmla="*/ 185336 h 485747"/>
              <a:gd name="connsiteX9" fmla="*/ 911486 w 1761324"/>
              <a:gd name="connsiteY9" fmla="*/ 314417 h 485747"/>
              <a:gd name="connsiteX10" fmla="*/ 920810 w 1761324"/>
              <a:gd name="connsiteY10" fmla="*/ 388547 h 485747"/>
              <a:gd name="connsiteX11" fmla="*/ 1017374 w 1761324"/>
              <a:gd name="connsiteY11" fmla="*/ 270871 h 485747"/>
              <a:gd name="connsiteX12" fmla="*/ 1027243 w 1761324"/>
              <a:gd name="connsiteY12" fmla="*/ 198814 h 485747"/>
              <a:gd name="connsiteX13" fmla="*/ 994873 w 1761324"/>
              <a:gd name="connsiteY13" fmla="*/ 185337 h 485747"/>
              <a:gd name="connsiteX14" fmla="*/ 994873 w 1761324"/>
              <a:gd name="connsiteY14" fmla="*/ 185336 h 485747"/>
              <a:gd name="connsiteX15" fmla="*/ 556517 w 1761324"/>
              <a:gd name="connsiteY15" fmla="*/ 188965 h 485747"/>
              <a:gd name="connsiteX16" fmla="*/ 317310 w 1761324"/>
              <a:gd name="connsiteY16" fmla="*/ 319601 h 485747"/>
              <a:gd name="connsiteX17" fmla="*/ 173567 w 1761324"/>
              <a:gd name="connsiteY17" fmla="*/ 316492 h 485747"/>
              <a:gd name="connsiteX18" fmla="*/ 220751 w 1761324"/>
              <a:gd name="connsiteY18" fmla="*/ 392177 h 485747"/>
              <a:gd name="connsiteX19" fmla="*/ 368883 w 1761324"/>
              <a:gd name="connsiteY19" fmla="*/ 371439 h 485747"/>
              <a:gd name="connsiteX20" fmla="*/ 536766 w 1761324"/>
              <a:gd name="connsiteY20" fmla="*/ 417060 h 485747"/>
              <a:gd name="connsiteX21" fmla="*/ 397410 w 1761324"/>
              <a:gd name="connsiteY21" fmla="*/ 478231 h 485747"/>
              <a:gd name="connsiteX22" fmla="*/ 22692 w 1761324"/>
              <a:gd name="connsiteY22" fmla="*/ 223697 h 485747"/>
              <a:gd name="connsiteX23" fmla="*/ 402897 w 1761324"/>
              <a:gd name="connsiteY23" fmla="*/ 5453 h 485747"/>
              <a:gd name="connsiteX24" fmla="*/ 441303 w 1761324"/>
              <a:gd name="connsiteY24" fmla="*/ 269 h 485747"/>
              <a:gd name="connsiteX25" fmla="*/ 556517 w 1761324"/>
              <a:gd name="connsiteY25" fmla="*/ 188966 h 485747"/>
              <a:gd name="connsiteX26" fmla="*/ 556517 w 1761324"/>
              <a:gd name="connsiteY26" fmla="*/ 188965 h 485747"/>
              <a:gd name="connsiteX27" fmla="*/ 413323 w 1761324"/>
              <a:gd name="connsiteY27" fmla="*/ 177560 h 485747"/>
              <a:gd name="connsiteX28" fmla="*/ 409481 w 1761324"/>
              <a:gd name="connsiteY28" fmla="*/ 138680 h 485747"/>
              <a:gd name="connsiteX29" fmla="*/ 217459 w 1761324"/>
              <a:gd name="connsiteY29" fmla="*/ 221624 h 485747"/>
              <a:gd name="connsiteX30" fmla="*/ 220202 w 1761324"/>
              <a:gd name="connsiteY30" fmla="*/ 226290 h 485747"/>
              <a:gd name="connsiteX31" fmla="*/ 377660 w 1761324"/>
              <a:gd name="connsiteY31" fmla="*/ 225771 h 485747"/>
              <a:gd name="connsiteX32" fmla="*/ 413323 w 1761324"/>
              <a:gd name="connsiteY32" fmla="*/ 177560 h 485747"/>
              <a:gd name="connsiteX33" fmla="*/ 413323 w 1761324"/>
              <a:gd name="connsiteY33" fmla="*/ 177560 h 485747"/>
              <a:gd name="connsiteX34" fmla="*/ 717816 w 1761324"/>
              <a:gd name="connsiteY34" fmla="*/ 250654 h 485747"/>
              <a:gd name="connsiteX35" fmla="*/ 684348 w 1761324"/>
              <a:gd name="connsiteY35" fmla="*/ 320118 h 485747"/>
              <a:gd name="connsiteX36" fmla="*/ 586143 w 1761324"/>
              <a:gd name="connsiteY36" fmla="*/ 286942 h 485747"/>
              <a:gd name="connsiteX37" fmla="*/ 696419 w 1761324"/>
              <a:gd name="connsiteY37" fmla="*/ 224216 h 485747"/>
              <a:gd name="connsiteX38" fmla="*/ 717816 w 1761324"/>
              <a:gd name="connsiteY38" fmla="*/ 250654 h 485747"/>
              <a:gd name="connsiteX39" fmla="*/ 717816 w 1761324"/>
              <a:gd name="connsiteY39" fmla="*/ 250654 h 485747"/>
              <a:gd name="connsiteX40" fmla="*/ 1761317 w 1761324"/>
              <a:gd name="connsiteY40" fmla="*/ 180670 h 485747"/>
              <a:gd name="connsiteX41" fmla="*/ 1754740 w 1761324"/>
              <a:gd name="connsiteY41" fmla="*/ 224216 h 485747"/>
              <a:gd name="connsiteX42" fmla="*/ 1674638 w 1761324"/>
              <a:gd name="connsiteY42" fmla="*/ 465271 h 485747"/>
              <a:gd name="connsiteX43" fmla="*/ 1566550 w 1761324"/>
              <a:gd name="connsiteY43" fmla="*/ 460605 h 485747"/>
              <a:gd name="connsiteX44" fmla="*/ 1592889 w 1761324"/>
              <a:gd name="connsiteY44" fmla="*/ 363664 h 485747"/>
              <a:gd name="connsiteX45" fmla="*/ 1608797 w 1761324"/>
              <a:gd name="connsiteY45" fmla="*/ 227846 h 485747"/>
              <a:gd name="connsiteX46" fmla="*/ 1573689 w 1761324"/>
              <a:gd name="connsiteY46" fmla="*/ 232511 h 485747"/>
              <a:gd name="connsiteX47" fmla="*/ 1288943 w 1761324"/>
              <a:gd name="connsiteY47" fmla="*/ 463715 h 485747"/>
              <a:gd name="connsiteX48" fmla="*/ 1190194 w 1761324"/>
              <a:gd name="connsiteY48" fmla="*/ 459569 h 485747"/>
              <a:gd name="connsiteX49" fmla="*/ 1189094 w 1761324"/>
              <a:gd name="connsiteY49" fmla="*/ 446608 h 485747"/>
              <a:gd name="connsiteX50" fmla="*/ 1305951 w 1761324"/>
              <a:gd name="connsiteY50" fmla="*/ 131941 h 485747"/>
              <a:gd name="connsiteX51" fmla="*/ 1407454 w 1761324"/>
              <a:gd name="connsiteY51" fmla="*/ 127795 h 485747"/>
              <a:gd name="connsiteX52" fmla="*/ 1439816 w 1761324"/>
              <a:gd name="connsiteY52" fmla="*/ 188966 h 485747"/>
              <a:gd name="connsiteX53" fmla="*/ 1758578 w 1761324"/>
              <a:gd name="connsiteY53" fmla="*/ 157863 h 485747"/>
              <a:gd name="connsiteX54" fmla="*/ 1761325 w 1761324"/>
              <a:gd name="connsiteY54" fmla="*/ 180670 h 485747"/>
              <a:gd name="connsiteX55" fmla="*/ 1761317 w 1761324"/>
              <a:gd name="connsiteY55" fmla="*/ 180670 h 485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1761324" h="485747">
                <a:moveTo>
                  <a:pt x="1202810" y="180152"/>
                </a:moveTo>
                <a:cubicBezTo>
                  <a:pt x="1202810" y="234243"/>
                  <a:pt x="1167140" y="305309"/>
                  <a:pt x="1141362" y="352260"/>
                </a:cubicBezTo>
                <a:cubicBezTo>
                  <a:pt x="1100865" y="426143"/>
                  <a:pt x="1046092" y="470415"/>
                  <a:pt x="957018" y="475637"/>
                </a:cubicBezTo>
                <a:cubicBezTo>
                  <a:pt x="878293" y="480251"/>
                  <a:pt x="700356" y="493166"/>
                  <a:pt x="731528" y="367812"/>
                </a:cubicBezTo>
                <a:cubicBezTo>
                  <a:pt x="745049" y="313545"/>
                  <a:pt x="775084" y="265733"/>
                  <a:pt x="793529" y="213329"/>
                </a:cubicBezTo>
                <a:cubicBezTo>
                  <a:pt x="855493" y="96504"/>
                  <a:pt x="1011440" y="74234"/>
                  <a:pt x="1135331" y="103429"/>
                </a:cubicBezTo>
                <a:cubicBezTo>
                  <a:pt x="1177264" y="117845"/>
                  <a:pt x="1199585" y="137137"/>
                  <a:pt x="1202810" y="180151"/>
                </a:cubicBezTo>
                <a:lnTo>
                  <a:pt x="1202810" y="180152"/>
                </a:lnTo>
                <a:close/>
                <a:moveTo>
                  <a:pt x="994873" y="185336"/>
                </a:moveTo>
                <a:cubicBezTo>
                  <a:pt x="931196" y="185336"/>
                  <a:pt x="923436" y="269327"/>
                  <a:pt x="911486" y="314417"/>
                </a:cubicBezTo>
                <a:cubicBezTo>
                  <a:pt x="908478" y="331458"/>
                  <a:pt x="888290" y="388547"/>
                  <a:pt x="920810" y="388547"/>
                </a:cubicBezTo>
                <a:cubicBezTo>
                  <a:pt x="997372" y="403097"/>
                  <a:pt x="1004496" y="323748"/>
                  <a:pt x="1017374" y="270871"/>
                </a:cubicBezTo>
                <a:cubicBezTo>
                  <a:pt x="1022103" y="251418"/>
                  <a:pt x="1031494" y="218781"/>
                  <a:pt x="1027243" y="198814"/>
                </a:cubicBezTo>
                <a:cubicBezTo>
                  <a:pt x="1027243" y="183962"/>
                  <a:pt x="1005327" y="186329"/>
                  <a:pt x="994873" y="185337"/>
                </a:cubicBezTo>
                <a:lnTo>
                  <a:pt x="994873" y="185336"/>
                </a:lnTo>
                <a:close/>
                <a:moveTo>
                  <a:pt x="556517" y="188965"/>
                </a:moveTo>
                <a:cubicBezTo>
                  <a:pt x="548660" y="331215"/>
                  <a:pt x="442921" y="320145"/>
                  <a:pt x="317310" y="319601"/>
                </a:cubicBezTo>
                <a:cubicBezTo>
                  <a:pt x="269574" y="319415"/>
                  <a:pt x="220757" y="316492"/>
                  <a:pt x="173567" y="316492"/>
                </a:cubicBezTo>
                <a:cubicBezTo>
                  <a:pt x="156154" y="333179"/>
                  <a:pt x="206568" y="383798"/>
                  <a:pt x="220751" y="392177"/>
                </a:cubicBezTo>
                <a:cubicBezTo>
                  <a:pt x="269164" y="420674"/>
                  <a:pt x="329910" y="408438"/>
                  <a:pt x="368883" y="371439"/>
                </a:cubicBezTo>
                <a:cubicBezTo>
                  <a:pt x="389821" y="371439"/>
                  <a:pt x="614559" y="343684"/>
                  <a:pt x="536766" y="417060"/>
                </a:cubicBezTo>
                <a:cubicBezTo>
                  <a:pt x="499114" y="448714"/>
                  <a:pt x="445844" y="467411"/>
                  <a:pt x="397410" y="478231"/>
                </a:cubicBezTo>
                <a:cubicBezTo>
                  <a:pt x="243304" y="512666"/>
                  <a:pt x="-89584" y="428957"/>
                  <a:pt x="22692" y="223697"/>
                </a:cubicBezTo>
                <a:cubicBezTo>
                  <a:pt x="99444" y="104339"/>
                  <a:pt x="265683" y="39072"/>
                  <a:pt x="402897" y="5453"/>
                </a:cubicBezTo>
                <a:cubicBezTo>
                  <a:pt x="415674" y="3038"/>
                  <a:pt x="428296" y="1180"/>
                  <a:pt x="441303" y="269"/>
                </a:cubicBezTo>
                <a:cubicBezTo>
                  <a:pt x="538928" y="-6619"/>
                  <a:pt x="556517" y="120689"/>
                  <a:pt x="556517" y="188966"/>
                </a:cubicBezTo>
                <a:lnTo>
                  <a:pt x="556517" y="188965"/>
                </a:lnTo>
                <a:close/>
                <a:moveTo>
                  <a:pt x="413323" y="177560"/>
                </a:moveTo>
                <a:cubicBezTo>
                  <a:pt x="413323" y="164695"/>
                  <a:pt x="413880" y="151090"/>
                  <a:pt x="409481" y="138680"/>
                </a:cubicBezTo>
                <a:cubicBezTo>
                  <a:pt x="394414" y="81319"/>
                  <a:pt x="236313" y="203809"/>
                  <a:pt x="217459" y="221624"/>
                </a:cubicBezTo>
                <a:cubicBezTo>
                  <a:pt x="215092" y="226128"/>
                  <a:pt x="216881" y="224732"/>
                  <a:pt x="220202" y="226290"/>
                </a:cubicBezTo>
                <a:cubicBezTo>
                  <a:pt x="272671" y="226290"/>
                  <a:pt x="325263" y="225771"/>
                  <a:pt x="377660" y="225771"/>
                </a:cubicBezTo>
                <a:cubicBezTo>
                  <a:pt x="412167" y="220389"/>
                  <a:pt x="413323" y="210466"/>
                  <a:pt x="413323" y="177560"/>
                </a:cubicBezTo>
                <a:lnTo>
                  <a:pt x="413323" y="177560"/>
                </a:lnTo>
                <a:close/>
                <a:moveTo>
                  <a:pt x="717816" y="250654"/>
                </a:moveTo>
                <a:cubicBezTo>
                  <a:pt x="705920" y="273291"/>
                  <a:pt x="708578" y="302987"/>
                  <a:pt x="684348" y="320118"/>
                </a:cubicBezTo>
                <a:cubicBezTo>
                  <a:pt x="651212" y="343544"/>
                  <a:pt x="567745" y="343608"/>
                  <a:pt x="586143" y="286942"/>
                </a:cubicBezTo>
                <a:cubicBezTo>
                  <a:pt x="603559" y="233072"/>
                  <a:pt x="636487" y="210160"/>
                  <a:pt x="696419" y="224216"/>
                </a:cubicBezTo>
                <a:cubicBezTo>
                  <a:pt x="711038" y="228842"/>
                  <a:pt x="714490" y="237992"/>
                  <a:pt x="717816" y="250654"/>
                </a:cubicBezTo>
                <a:lnTo>
                  <a:pt x="717816" y="250654"/>
                </a:lnTo>
                <a:close/>
                <a:moveTo>
                  <a:pt x="1761317" y="180670"/>
                </a:moveTo>
                <a:cubicBezTo>
                  <a:pt x="1761317" y="195172"/>
                  <a:pt x="1758099" y="210123"/>
                  <a:pt x="1754740" y="224216"/>
                </a:cubicBezTo>
                <a:cubicBezTo>
                  <a:pt x="1734933" y="306930"/>
                  <a:pt x="1702997" y="385622"/>
                  <a:pt x="1674638" y="465271"/>
                </a:cubicBezTo>
                <a:cubicBezTo>
                  <a:pt x="1648613" y="489859"/>
                  <a:pt x="1594513" y="476470"/>
                  <a:pt x="1566550" y="460605"/>
                </a:cubicBezTo>
                <a:cubicBezTo>
                  <a:pt x="1552565" y="447389"/>
                  <a:pt x="1587337" y="379960"/>
                  <a:pt x="1592889" y="363664"/>
                </a:cubicBezTo>
                <a:cubicBezTo>
                  <a:pt x="1601412" y="338636"/>
                  <a:pt x="1647962" y="246346"/>
                  <a:pt x="1608797" y="227846"/>
                </a:cubicBezTo>
                <a:cubicBezTo>
                  <a:pt x="1596204" y="227846"/>
                  <a:pt x="1586185" y="229404"/>
                  <a:pt x="1573689" y="232511"/>
                </a:cubicBezTo>
                <a:cubicBezTo>
                  <a:pt x="1456495" y="271279"/>
                  <a:pt x="1373310" y="383999"/>
                  <a:pt x="1288943" y="463715"/>
                </a:cubicBezTo>
                <a:cubicBezTo>
                  <a:pt x="1252375" y="481114"/>
                  <a:pt x="1226118" y="476662"/>
                  <a:pt x="1190194" y="459569"/>
                </a:cubicBezTo>
                <a:cubicBezTo>
                  <a:pt x="1186624" y="456202"/>
                  <a:pt x="1188353" y="450850"/>
                  <a:pt x="1189094" y="446608"/>
                </a:cubicBezTo>
                <a:cubicBezTo>
                  <a:pt x="1216278" y="339317"/>
                  <a:pt x="1259274" y="232942"/>
                  <a:pt x="1305951" y="131941"/>
                </a:cubicBezTo>
                <a:cubicBezTo>
                  <a:pt x="1313291" y="111320"/>
                  <a:pt x="1388747" y="118961"/>
                  <a:pt x="1407454" y="127795"/>
                </a:cubicBezTo>
                <a:cubicBezTo>
                  <a:pt x="1407454" y="150635"/>
                  <a:pt x="1404917" y="188966"/>
                  <a:pt x="1439816" y="188966"/>
                </a:cubicBezTo>
                <a:cubicBezTo>
                  <a:pt x="1518130" y="180810"/>
                  <a:pt x="1710008" y="20195"/>
                  <a:pt x="1758578" y="157863"/>
                </a:cubicBezTo>
                <a:cubicBezTo>
                  <a:pt x="1759955" y="165636"/>
                  <a:pt x="1761325" y="172682"/>
                  <a:pt x="1761325" y="180670"/>
                </a:cubicBezTo>
                <a:lnTo>
                  <a:pt x="1761317" y="180670"/>
                </a:lnTo>
                <a:close/>
              </a:path>
            </a:pathLst>
          </a:custGeom>
          <a:solidFill>
            <a:schemeClr val="bg1"/>
          </a:solidFill>
          <a:ln w="7461" cap="flat">
            <a:noFill/>
            <a:prstDash val="solid"/>
            <a:miter/>
          </a:ln>
        </p:spPr>
        <p:txBody>
          <a:bodyPr rtlCol="0" anchor="ctr"/>
          <a:lstStyle/>
          <a:p>
            <a:endParaRPr lang="de-DE" sz="1350"/>
          </a:p>
        </p:txBody>
      </p:sp>
    </p:spTree>
    <p:extLst>
      <p:ext uri="{BB962C8B-B14F-4D97-AF65-F5344CB8AC3E}">
        <p14:creationId xmlns:p14="http://schemas.microsoft.com/office/powerpoint/2010/main" val="317019319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chart with large Imag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mage">
            <a:extLst>
              <a:ext uri="{FF2B5EF4-FFF2-40B4-BE49-F238E27FC236}">
                <a16:creationId xmlns:a16="http://schemas.microsoft.com/office/drawing/2014/main" id="{80AC49D3-6A5A-9774-4531-1B486B7E76B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9144000" cy="6858000"/>
          </a:xfrm>
          <a:solidFill>
            <a:srgbClr val="999999"/>
          </a:solidFill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de-DE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D89DC9A-FBE8-D440-F9E1-B90DCE3E7EC9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9144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64A7A6DC-7397-463A-B2C4-716D279C2AEB}" type="datetime1">
              <a:rPr lang="de-DE" smtClean="0"/>
              <a:t>29.04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7627D1-B40C-E389-8DD5-0DD1E92EA48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9144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65A4D41-9BDD-B66B-9FB7-CE532CA1E31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9144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9" name="Contact information">
            <a:extLst>
              <a:ext uri="{FF2B5EF4-FFF2-40B4-BE49-F238E27FC236}">
                <a16:creationId xmlns:a16="http://schemas.microsoft.com/office/drawing/2014/main" id="{711219D6-CE9D-0F40-A923-24FB0FE247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3212977"/>
            <a:ext cx="4077000" cy="235385"/>
          </a:xfrm>
        </p:spPr>
        <p:txBody>
          <a:bodyPr>
            <a:noAutofit/>
          </a:bodyPr>
          <a:lstStyle>
            <a:lvl1pPr>
              <a:defRPr sz="105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contact</a:t>
            </a:r>
            <a:r>
              <a:rPr lang="de-DE"/>
              <a:t> Information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33495D4A-F00D-763A-E57E-AF2EFD0C60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2865601"/>
            <a:ext cx="4077000" cy="302647"/>
          </a:xfrm>
        </p:spPr>
        <p:txBody>
          <a:bodyPr>
            <a:noAutofit/>
          </a:bodyPr>
          <a:lstStyle>
            <a:lvl1pPr>
              <a:defRPr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name</a:t>
            </a:r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9906940-4A55-7491-73FA-F7C757B94F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512763"/>
            <a:ext cx="8424431" cy="68947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360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/>
              <a:t>Edit </a:t>
            </a:r>
            <a:r>
              <a:rPr lang="de-DE" err="1"/>
              <a:t>closing</a:t>
            </a:r>
            <a:r>
              <a:rPr lang="de-DE"/>
              <a:t> </a:t>
            </a:r>
            <a:r>
              <a:rPr lang="de-DE" err="1"/>
              <a:t>statement</a:t>
            </a:r>
            <a:endParaRPr lang="de-DE"/>
          </a:p>
        </p:txBody>
      </p:sp>
      <p:pic>
        <p:nvPicPr>
          <p:cNvPr id="6" name="MIO_AGENDA_LAST_SLIDE" descr="Schließen mit einfarbiger Füllung" hidden="1">
            <a:extLst>
              <a:ext uri="{FF2B5EF4-FFF2-40B4-BE49-F238E27FC236}">
                <a16:creationId xmlns:a16="http://schemas.microsoft.com/office/drawing/2014/main" id="{69DA9C75-51A0-D606-2C11-77CC23F8A7A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009000" y="0"/>
            <a:ext cx="135000" cy="180000"/>
          </a:xfrm>
          <a:prstGeom prst="rect">
            <a:avLst/>
          </a:prstGeom>
        </p:spPr>
      </p:pic>
      <p:pic>
        <p:nvPicPr>
          <p:cNvPr id="10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562B9F09-1353-EC0F-B9A1-A281ABA9EDB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009000" y="0"/>
            <a:ext cx="135000" cy="180000"/>
          </a:xfrm>
          <a:prstGeom prst="rect">
            <a:avLst/>
          </a:prstGeom>
        </p:spPr>
      </p:pic>
      <p:pic>
        <p:nvPicPr>
          <p:cNvPr id="11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04437E0E-F58E-840C-4CA1-5A20337C183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009000" y="0"/>
            <a:ext cx="135000" cy="180000"/>
          </a:xfrm>
          <a:prstGeom prst="rect">
            <a:avLst/>
          </a:prstGeom>
        </p:spPr>
      </p:pic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23D6592-F4E3-3941-7D9D-531EB3FA894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9569" y="1202234"/>
            <a:ext cx="8424863" cy="679907"/>
          </a:xfrm>
        </p:spPr>
        <p:txBody>
          <a:bodyPr/>
          <a:lstStyle>
            <a:lvl1pPr>
              <a:lnSpc>
                <a:spcPct val="80000"/>
              </a:lnSpc>
              <a:spcAft>
                <a:spcPts val="0"/>
              </a:spcAft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10">
            <a:extLst>
              <a:ext uri="{FF2B5EF4-FFF2-40B4-BE49-F238E27FC236}">
                <a16:creationId xmlns:a16="http://schemas.microsoft.com/office/drawing/2014/main" id="{BE398898-6226-AF23-EBB4-8146744ED0A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569" y="5891143"/>
            <a:ext cx="1234916" cy="454095"/>
          </a:xfrm>
          <a:custGeom>
            <a:avLst/>
            <a:gdLst>
              <a:gd name="connsiteX0" fmla="*/ 738049 w 1980551"/>
              <a:gd name="connsiteY0" fmla="*/ 247957 h 546206"/>
              <a:gd name="connsiteX1" fmla="*/ 783101 w 1980551"/>
              <a:gd name="connsiteY1" fmla="*/ 252123 h 546206"/>
              <a:gd name="connsiteX2" fmla="*/ 807161 w 1980551"/>
              <a:gd name="connsiteY2" fmla="*/ 281851 h 546206"/>
              <a:gd name="connsiteX3" fmla="*/ 769527 w 1980551"/>
              <a:gd name="connsiteY3" fmla="*/ 359961 h 546206"/>
              <a:gd name="connsiteX4" fmla="*/ 659099 w 1980551"/>
              <a:gd name="connsiteY4" fmla="*/ 322656 h 546206"/>
              <a:gd name="connsiteX5" fmla="*/ 738049 w 1980551"/>
              <a:gd name="connsiteY5" fmla="*/ 247957 h 546206"/>
              <a:gd name="connsiteX6" fmla="*/ 625785 w 1980551"/>
              <a:gd name="connsiteY6" fmla="*/ 212484 h 546206"/>
              <a:gd name="connsiteX7" fmla="*/ 625785 w 1980551"/>
              <a:gd name="connsiteY7" fmla="*/ 212485 h 546206"/>
              <a:gd name="connsiteX8" fmla="*/ 625785 w 1980551"/>
              <a:gd name="connsiteY8" fmla="*/ 212484 h 546206"/>
              <a:gd name="connsiteX9" fmla="*/ 1118702 w 1980551"/>
              <a:gd name="connsiteY9" fmla="*/ 208403 h 546206"/>
              <a:gd name="connsiteX10" fmla="*/ 1024936 w 1980551"/>
              <a:gd name="connsiteY10" fmla="*/ 353550 h 546206"/>
              <a:gd name="connsiteX11" fmla="*/ 1035421 w 1980551"/>
              <a:gd name="connsiteY11" fmla="*/ 436907 h 546206"/>
              <a:gd name="connsiteX12" fmla="*/ 1144003 w 1980551"/>
              <a:gd name="connsiteY12" fmla="*/ 304584 h 546206"/>
              <a:gd name="connsiteX13" fmla="*/ 1155101 w 1980551"/>
              <a:gd name="connsiteY13" fmla="*/ 223559 h 546206"/>
              <a:gd name="connsiteX14" fmla="*/ 1118702 w 1980551"/>
              <a:gd name="connsiteY14" fmla="*/ 208404 h 546206"/>
              <a:gd name="connsiteX15" fmla="*/ 422544 w 1980551"/>
              <a:gd name="connsiteY15" fmla="*/ 140485 h 546206"/>
              <a:gd name="connsiteX16" fmla="*/ 244526 w 1980551"/>
              <a:gd name="connsiteY16" fmla="*/ 249208 h 546206"/>
              <a:gd name="connsiteX17" fmla="*/ 247611 w 1980551"/>
              <a:gd name="connsiteY17" fmla="*/ 254455 h 546206"/>
              <a:gd name="connsiteX18" fmla="*/ 424667 w 1980551"/>
              <a:gd name="connsiteY18" fmla="*/ 253871 h 546206"/>
              <a:gd name="connsiteX19" fmla="*/ 464769 w 1980551"/>
              <a:gd name="connsiteY19" fmla="*/ 199659 h 546206"/>
              <a:gd name="connsiteX20" fmla="*/ 460448 w 1980551"/>
              <a:gd name="connsiteY20" fmla="*/ 155940 h 546206"/>
              <a:gd name="connsiteX21" fmla="*/ 422544 w 1980551"/>
              <a:gd name="connsiteY21" fmla="*/ 140485 h 546206"/>
              <a:gd name="connsiteX22" fmla="*/ 1910799 w 1980551"/>
              <a:gd name="connsiteY22" fmla="*/ 116378 h 546206"/>
              <a:gd name="connsiteX23" fmla="*/ 1977462 w 1980551"/>
              <a:gd name="connsiteY23" fmla="*/ 177511 h 546206"/>
              <a:gd name="connsiteX24" fmla="*/ 1980551 w 1980551"/>
              <a:gd name="connsiteY24" fmla="*/ 203157 h 546206"/>
              <a:gd name="connsiteX25" fmla="*/ 1980542 w 1980551"/>
              <a:gd name="connsiteY25" fmla="*/ 203157 h 546206"/>
              <a:gd name="connsiteX26" fmla="*/ 1973147 w 1980551"/>
              <a:gd name="connsiteY26" fmla="*/ 252123 h 546206"/>
              <a:gd name="connsiteX27" fmla="*/ 1883075 w 1980551"/>
              <a:gd name="connsiteY27" fmla="*/ 523181 h 546206"/>
              <a:gd name="connsiteX28" fmla="*/ 1761533 w 1980551"/>
              <a:gd name="connsiteY28" fmla="*/ 517934 h 546206"/>
              <a:gd name="connsiteX29" fmla="*/ 1791151 w 1980551"/>
              <a:gd name="connsiteY29" fmla="*/ 408927 h 546206"/>
              <a:gd name="connsiteX30" fmla="*/ 1809039 w 1980551"/>
              <a:gd name="connsiteY30" fmla="*/ 256204 h 546206"/>
              <a:gd name="connsiteX31" fmla="*/ 1769561 w 1980551"/>
              <a:gd name="connsiteY31" fmla="*/ 261450 h 546206"/>
              <a:gd name="connsiteX32" fmla="*/ 1449374 w 1980551"/>
              <a:gd name="connsiteY32" fmla="*/ 521431 h 546206"/>
              <a:gd name="connsiteX33" fmla="*/ 1338334 w 1980551"/>
              <a:gd name="connsiteY33" fmla="*/ 516769 h 546206"/>
              <a:gd name="connsiteX34" fmla="*/ 1337097 w 1980551"/>
              <a:gd name="connsiteY34" fmla="*/ 502195 h 546206"/>
              <a:gd name="connsiteX35" fmla="*/ 1468499 w 1980551"/>
              <a:gd name="connsiteY35" fmla="*/ 148362 h 546206"/>
              <a:gd name="connsiteX36" fmla="*/ 1582635 w 1980551"/>
              <a:gd name="connsiteY36" fmla="*/ 143700 h 546206"/>
              <a:gd name="connsiteX37" fmla="*/ 1619025 w 1980551"/>
              <a:gd name="connsiteY37" fmla="*/ 212485 h 546206"/>
              <a:gd name="connsiteX38" fmla="*/ 1910799 w 1980551"/>
              <a:gd name="connsiteY38" fmla="*/ 116378 h 546206"/>
              <a:gd name="connsiteX39" fmla="*/ 1167615 w 1980551"/>
              <a:gd name="connsiteY39" fmla="*/ 103288 h 546206"/>
              <a:gd name="connsiteX40" fmla="*/ 1276642 w 1980551"/>
              <a:gd name="connsiteY40" fmla="*/ 116302 h 546206"/>
              <a:gd name="connsiteX41" fmla="*/ 1352520 w 1980551"/>
              <a:gd name="connsiteY41" fmla="*/ 202573 h 546206"/>
              <a:gd name="connsiteX42" fmla="*/ 1352520 w 1980551"/>
              <a:gd name="connsiteY42" fmla="*/ 202574 h 546206"/>
              <a:gd name="connsiteX43" fmla="*/ 1283424 w 1980551"/>
              <a:gd name="connsiteY43" fmla="*/ 396104 h 546206"/>
              <a:gd name="connsiteX44" fmla="*/ 1076135 w 1980551"/>
              <a:gd name="connsiteY44" fmla="*/ 534837 h 546206"/>
              <a:gd name="connsiteX45" fmla="*/ 822579 w 1980551"/>
              <a:gd name="connsiteY45" fmla="*/ 413591 h 546206"/>
              <a:gd name="connsiteX46" fmla="*/ 892297 w 1980551"/>
              <a:gd name="connsiteY46" fmla="*/ 239880 h 546206"/>
              <a:gd name="connsiteX47" fmla="*/ 1167615 w 1980551"/>
              <a:gd name="connsiteY47" fmla="*/ 103288 h 546206"/>
              <a:gd name="connsiteX48" fmla="*/ 496231 w 1980551"/>
              <a:gd name="connsiteY48" fmla="*/ 302 h 546206"/>
              <a:gd name="connsiteX49" fmla="*/ 620979 w 1980551"/>
              <a:gd name="connsiteY49" fmla="*/ 145853 h 546206"/>
              <a:gd name="connsiteX50" fmla="*/ 625785 w 1980551"/>
              <a:gd name="connsiteY50" fmla="*/ 212484 h 546206"/>
              <a:gd name="connsiteX51" fmla="*/ 617484 w 1980551"/>
              <a:gd name="connsiteY51" fmla="*/ 264746 h 546206"/>
              <a:gd name="connsiteX52" fmla="*/ 356805 w 1980551"/>
              <a:gd name="connsiteY52" fmla="*/ 359380 h 546206"/>
              <a:gd name="connsiteX53" fmla="*/ 195171 w 1980551"/>
              <a:gd name="connsiteY53" fmla="*/ 355884 h 546206"/>
              <a:gd name="connsiteX54" fmla="*/ 248228 w 1980551"/>
              <a:gd name="connsiteY54" fmla="*/ 440989 h 546206"/>
              <a:gd name="connsiteX55" fmla="*/ 414797 w 1980551"/>
              <a:gd name="connsiteY55" fmla="*/ 417670 h 546206"/>
              <a:gd name="connsiteX56" fmla="*/ 603576 w 1980551"/>
              <a:gd name="connsiteY56" fmla="*/ 468969 h 546206"/>
              <a:gd name="connsiteX57" fmla="*/ 446875 w 1980551"/>
              <a:gd name="connsiteY57" fmla="*/ 537754 h 546206"/>
              <a:gd name="connsiteX58" fmla="*/ 25517 w 1980551"/>
              <a:gd name="connsiteY58" fmla="*/ 251539 h 546206"/>
              <a:gd name="connsiteX59" fmla="*/ 453045 w 1980551"/>
              <a:gd name="connsiteY59" fmla="*/ 6131 h 546206"/>
              <a:gd name="connsiteX60" fmla="*/ 496231 w 1980551"/>
              <a:gd name="connsiteY60" fmla="*/ 302 h 546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1980551" h="546206">
                <a:moveTo>
                  <a:pt x="738049" y="247957"/>
                </a:moveTo>
                <a:cubicBezTo>
                  <a:pt x="751303" y="246818"/>
                  <a:pt x="766253" y="248171"/>
                  <a:pt x="783101" y="252123"/>
                </a:cubicBezTo>
                <a:cubicBezTo>
                  <a:pt x="799539" y="257324"/>
                  <a:pt x="803421" y="267613"/>
                  <a:pt x="807161" y="281851"/>
                </a:cubicBezTo>
                <a:cubicBezTo>
                  <a:pt x="793784" y="307306"/>
                  <a:pt x="796773" y="340698"/>
                  <a:pt x="769527" y="359961"/>
                </a:cubicBezTo>
                <a:cubicBezTo>
                  <a:pt x="732267" y="386303"/>
                  <a:pt x="638411" y="386375"/>
                  <a:pt x="659099" y="322656"/>
                </a:cubicBezTo>
                <a:cubicBezTo>
                  <a:pt x="673787" y="277225"/>
                  <a:pt x="698286" y="251375"/>
                  <a:pt x="738049" y="247957"/>
                </a:cubicBezTo>
                <a:close/>
                <a:moveTo>
                  <a:pt x="625785" y="212484"/>
                </a:moveTo>
                <a:lnTo>
                  <a:pt x="625785" y="212485"/>
                </a:lnTo>
                <a:lnTo>
                  <a:pt x="625785" y="212484"/>
                </a:lnTo>
                <a:close/>
                <a:moveTo>
                  <a:pt x="1118702" y="208403"/>
                </a:moveTo>
                <a:cubicBezTo>
                  <a:pt x="1047099" y="208403"/>
                  <a:pt x="1038373" y="302848"/>
                  <a:pt x="1024936" y="353550"/>
                </a:cubicBezTo>
                <a:cubicBezTo>
                  <a:pt x="1021554" y="372712"/>
                  <a:pt x="998853" y="436907"/>
                  <a:pt x="1035421" y="436907"/>
                </a:cubicBezTo>
                <a:cubicBezTo>
                  <a:pt x="1121512" y="453268"/>
                  <a:pt x="1129523" y="364043"/>
                  <a:pt x="1144003" y="304584"/>
                </a:cubicBezTo>
                <a:cubicBezTo>
                  <a:pt x="1149321" y="282710"/>
                  <a:pt x="1159881" y="246011"/>
                  <a:pt x="1155101" y="223559"/>
                </a:cubicBezTo>
                <a:cubicBezTo>
                  <a:pt x="1155101" y="206858"/>
                  <a:pt x="1130457" y="209520"/>
                  <a:pt x="1118702" y="208404"/>
                </a:cubicBezTo>
                <a:close/>
                <a:moveTo>
                  <a:pt x="422544" y="140485"/>
                </a:moveTo>
                <a:cubicBezTo>
                  <a:pt x="364403" y="152951"/>
                  <a:pt x="260427" y="234184"/>
                  <a:pt x="244526" y="249208"/>
                </a:cubicBezTo>
                <a:cubicBezTo>
                  <a:pt x="241865" y="254272"/>
                  <a:pt x="243876" y="252703"/>
                  <a:pt x="247611" y="254455"/>
                </a:cubicBezTo>
                <a:cubicBezTo>
                  <a:pt x="306610" y="254455"/>
                  <a:pt x="365748" y="253871"/>
                  <a:pt x="424667" y="253871"/>
                </a:cubicBezTo>
                <a:cubicBezTo>
                  <a:pt x="463469" y="247819"/>
                  <a:pt x="464769" y="236661"/>
                  <a:pt x="464769" y="199659"/>
                </a:cubicBezTo>
                <a:cubicBezTo>
                  <a:pt x="464769" y="185193"/>
                  <a:pt x="465395" y="169895"/>
                  <a:pt x="460448" y="155940"/>
                </a:cubicBezTo>
                <a:cubicBezTo>
                  <a:pt x="456213" y="139815"/>
                  <a:pt x="441925" y="136330"/>
                  <a:pt x="422544" y="140485"/>
                </a:cubicBezTo>
                <a:close/>
                <a:moveTo>
                  <a:pt x="1910799" y="116378"/>
                </a:moveTo>
                <a:cubicBezTo>
                  <a:pt x="1940083" y="121072"/>
                  <a:pt x="1963808" y="138810"/>
                  <a:pt x="1977462" y="177511"/>
                </a:cubicBezTo>
                <a:cubicBezTo>
                  <a:pt x="1979011" y="186251"/>
                  <a:pt x="1980551" y="194174"/>
                  <a:pt x="1980551" y="203157"/>
                </a:cubicBezTo>
                <a:lnTo>
                  <a:pt x="1980542" y="203157"/>
                </a:lnTo>
                <a:cubicBezTo>
                  <a:pt x="1980542" y="219464"/>
                  <a:pt x="1976924" y="236275"/>
                  <a:pt x="1973147" y="252123"/>
                </a:cubicBezTo>
                <a:cubicBezTo>
                  <a:pt x="1950874" y="345132"/>
                  <a:pt x="1914963" y="433618"/>
                  <a:pt x="1883075" y="523181"/>
                </a:cubicBezTo>
                <a:cubicBezTo>
                  <a:pt x="1853810" y="550829"/>
                  <a:pt x="1792977" y="535774"/>
                  <a:pt x="1761533" y="517934"/>
                </a:cubicBezTo>
                <a:cubicBezTo>
                  <a:pt x="1745808" y="503073"/>
                  <a:pt x="1784907" y="427251"/>
                  <a:pt x="1791151" y="408927"/>
                </a:cubicBezTo>
                <a:cubicBezTo>
                  <a:pt x="1800734" y="380784"/>
                  <a:pt x="1853078" y="277007"/>
                  <a:pt x="1809039" y="256204"/>
                </a:cubicBezTo>
                <a:cubicBezTo>
                  <a:pt x="1794878" y="256204"/>
                  <a:pt x="1783612" y="257956"/>
                  <a:pt x="1769561" y="261450"/>
                </a:cubicBezTo>
                <a:cubicBezTo>
                  <a:pt x="1637780" y="305043"/>
                  <a:pt x="1544241" y="431793"/>
                  <a:pt x="1449374" y="521431"/>
                </a:cubicBezTo>
                <a:cubicBezTo>
                  <a:pt x="1408254" y="540996"/>
                  <a:pt x="1378729" y="535989"/>
                  <a:pt x="1338334" y="516769"/>
                </a:cubicBezTo>
                <a:cubicBezTo>
                  <a:pt x="1334319" y="512983"/>
                  <a:pt x="1336264" y="506965"/>
                  <a:pt x="1337097" y="502195"/>
                </a:cubicBezTo>
                <a:cubicBezTo>
                  <a:pt x="1367664" y="381550"/>
                  <a:pt x="1416012" y="261935"/>
                  <a:pt x="1468499" y="148362"/>
                </a:cubicBezTo>
                <a:cubicBezTo>
                  <a:pt x="1476752" y="125175"/>
                  <a:pt x="1561600" y="133767"/>
                  <a:pt x="1582635" y="143700"/>
                </a:cubicBezTo>
                <a:cubicBezTo>
                  <a:pt x="1582635" y="169383"/>
                  <a:pt x="1579782" y="212485"/>
                  <a:pt x="1619025" y="212485"/>
                </a:cubicBezTo>
                <a:cubicBezTo>
                  <a:pt x="1685071" y="205607"/>
                  <a:pt x="1822948" y="102296"/>
                  <a:pt x="1910799" y="116378"/>
                </a:cubicBezTo>
                <a:close/>
                <a:moveTo>
                  <a:pt x="1167615" y="103288"/>
                </a:moveTo>
                <a:cubicBezTo>
                  <a:pt x="1204734" y="103504"/>
                  <a:pt x="1241814" y="108095"/>
                  <a:pt x="1276642" y="116302"/>
                </a:cubicBezTo>
                <a:cubicBezTo>
                  <a:pt x="1323794" y="132512"/>
                  <a:pt x="1348894" y="154205"/>
                  <a:pt x="1352520" y="202573"/>
                </a:cubicBezTo>
                <a:lnTo>
                  <a:pt x="1352520" y="202574"/>
                </a:lnTo>
                <a:cubicBezTo>
                  <a:pt x="1352520" y="263398"/>
                  <a:pt x="1312410" y="343309"/>
                  <a:pt x="1283424" y="396104"/>
                </a:cubicBezTo>
                <a:cubicBezTo>
                  <a:pt x="1237886" y="479183"/>
                  <a:pt x="1176296" y="528965"/>
                  <a:pt x="1076135" y="534837"/>
                </a:cubicBezTo>
                <a:cubicBezTo>
                  <a:pt x="987612" y="540025"/>
                  <a:pt x="787527" y="554548"/>
                  <a:pt x="822579" y="413591"/>
                </a:cubicBezTo>
                <a:cubicBezTo>
                  <a:pt x="837783" y="352570"/>
                  <a:pt x="871557" y="298807"/>
                  <a:pt x="892297" y="239880"/>
                </a:cubicBezTo>
                <a:cubicBezTo>
                  <a:pt x="944555" y="141356"/>
                  <a:pt x="1056258" y="102639"/>
                  <a:pt x="1167615" y="103288"/>
                </a:cubicBezTo>
                <a:close/>
                <a:moveTo>
                  <a:pt x="496231" y="302"/>
                </a:moveTo>
                <a:cubicBezTo>
                  <a:pt x="578563" y="-5507"/>
                  <a:pt x="610271" y="73564"/>
                  <a:pt x="620979" y="145853"/>
                </a:cubicBezTo>
                <a:lnTo>
                  <a:pt x="625785" y="212484"/>
                </a:lnTo>
                <a:lnTo>
                  <a:pt x="617484" y="264746"/>
                </a:lnTo>
                <a:cubicBezTo>
                  <a:pt x="586877" y="369512"/>
                  <a:pt x="480395" y="359915"/>
                  <a:pt x="356805" y="359380"/>
                </a:cubicBezTo>
                <a:cubicBezTo>
                  <a:pt x="303128" y="359171"/>
                  <a:pt x="248235" y="355884"/>
                  <a:pt x="195171" y="355884"/>
                </a:cubicBezTo>
                <a:cubicBezTo>
                  <a:pt x="175591" y="374648"/>
                  <a:pt x="232280" y="431567"/>
                  <a:pt x="248228" y="440989"/>
                </a:cubicBezTo>
                <a:cubicBezTo>
                  <a:pt x="302667" y="473033"/>
                  <a:pt x="370974" y="459274"/>
                  <a:pt x="414797" y="417670"/>
                </a:cubicBezTo>
                <a:cubicBezTo>
                  <a:pt x="438341" y="417670"/>
                  <a:pt x="691052" y="386460"/>
                  <a:pt x="603576" y="468969"/>
                </a:cubicBezTo>
                <a:cubicBezTo>
                  <a:pt x="561238" y="504563"/>
                  <a:pt x="501337" y="525587"/>
                  <a:pt x="446875" y="537754"/>
                </a:cubicBezTo>
                <a:cubicBezTo>
                  <a:pt x="273588" y="576475"/>
                  <a:pt x="-100733" y="482347"/>
                  <a:pt x="25517" y="251539"/>
                </a:cubicBezTo>
                <a:cubicBezTo>
                  <a:pt x="111822" y="117325"/>
                  <a:pt x="298753" y="43934"/>
                  <a:pt x="453045" y="6131"/>
                </a:cubicBezTo>
                <a:cubicBezTo>
                  <a:pt x="467412" y="3415"/>
                  <a:pt x="481605" y="1326"/>
                  <a:pt x="496231" y="302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00"/>
            </a:lvl1pPr>
            <a:lvl5pPr>
              <a:defRPr/>
            </a:lvl5pPr>
          </a:lstStyle>
          <a:p>
            <a:pPr lvl="0"/>
            <a:r>
              <a:rPr lang="de-DE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85710008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chart with large Imag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mage">
            <a:extLst>
              <a:ext uri="{FF2B5EF4-FFF2-40B4-BE49-F238E27FC236}">
                <a16:creationId xmlns:a16="http://schemas.microsoft.com/office/drawing/2014/main" id="{96537854-3AC1-5D8C-32C0-773FDACAA86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9144000" cy="6858000"/>
          </a:xfrm>
          <a:solidFill>
            <a:srgbClr val="999999"/>
          </a:solidFill>
        </p:spPr>
        <p:txBody>
          <a:bodyPr tIns="0"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D89DC9A-FBE8-D440-F9E1-B90DCE3E7EC9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9144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19CD527E-A261-471D-9683-F6A1B735AC0F}" type="datetime1">
              <a:rPr lang="de-DE" smtClean="0"/>
              <a:t>29.04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7627D1-B40C-E389-8DD5-0DD1E92EA48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9144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65A4D41-9BDD-B66B-9FB7-CE532CA1E31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9144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9906940-4A55-7491-73FA-F7C757B94F1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359569" y="1448780"/>
            <a:ext cx="8424863" cy="3545586"/>
          </a:xfrm>
        </p:spPr>
        <p:txBody>
          <a:bodyPr>
            <a:noAutofit/>
          </a:bodyPr>
          <a:lstStyle>
            <a:lvl1pPr algn="ctr">
              <a:lnSpc>
                <a:spcPct val="80000"/>
              </a:lnSpc>
              <a:defRPr sz="1155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/>
              <a:t>Closing </a:t>
            </a:r>
            <a:r>
              <a:rPr lang="de-DE" err="1"/>
              <a:t>statement</a:t>
            </a:r>
            <a:endParaRPr lang="de-DE"/>
          </a:p>
        </p:txBody>
      </p:sp>
      <p:pic>
        <p:nvPicPr>
          <p:cNvPr id="6" name="MIO_AGENDA_LAST_SLIDE" descr="Schließen mit einfarbiger Füllung" hidden="1">
            <a:extLst>
              <a:ext uri="{FF2B5EF4-FFF2-40B4-BE49-F238E27FC236}">
                <a16:creationId xmlns:a16="http://schemas.microsoft.com/office/drawing/2014/main" id="{1FBC18BA-07D1-12C2-80F5-C358D6A587A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009000" y="0"/>
            <a:ext cx="135000" cy="180000"/>
          </a:xfrm>
          <a:prstGeom prst="rect">
            <a:avLst/>
          </a:prstGeom>
        </p:spPr>
      </p:pic>
      <p:pic>
        <p:nvPicPr>
          <p:cNvPr id="7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97D13E98-B776-B804-BDA0-5AA68AC6F5F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009000" y="0"/>
            <a:ext cx="135000" cy="180000"/>
          </a:xfrm>
          <a:prstGeom prst="rect">
            <a:avLst/>
          </a:prstGeom>
        </p:spPr>
      </p:pic>
      <p:pic>
        <p:nvPicPr>
          <p:cNvPr id="8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5B4FB576-C51D-63AF-406B-C62ACA7171D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009000" y="0"/>
            <a:ext cx="135000" cy="180000"/>
          </a:xfrm>
          <a:prstGeom prst="rect">
            <a:avLst/>
          </a:prstGeom>
        </p:spPr>
      </p:pic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9364ACD0-A96D-8FE8-D5F2-DC9811F7727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54542" y="5891143"/>
            <a:ext cx="1234916" cy="454095"/>
          </a:xfrm>
          <a:custGeom>
            <a:avLst/>
            <a:gdLst>
              <a:gd name="connsiteX0" fmla="*/ 738049 w 1980551"/>
              <a:gd name="connsiteY0" fmla="*/ 247957 h 546206"/>
              <a:gd name="connsiteX1" fmla="*/ 783101 w 1980551"/>
              <a:gd name="connsiteY1" fmla="*/ 252123 h 546206"/>
              <a:gd name="connsiteX2" fmla="*/ 807161 w 1980551"/>
              <a:gd name="connsiteY2" fmla="*/ 281851 h 546206"/>
              <a:gd name="connsiteX3" fmla="*/ 769527 w 1980551"/>
              <a:gd name="connsiteY3" fmla="*/ 359961 h 546206"/>
              <a:gd name="connsiteX4" fmla="*/ 659099 w 1980551"/>
              <a:gd name="connsiteY4" fmla="*/ 322656 h 546206"/>
              <a:gd name="connsiteX5" fmla="*/ 738049 w 1980551"/>
              <a:gd name="connsiteY5" fmla="*/ 247957 h 546206"/>
              <a:gd name="connsiteX6" fmla="*/ 625785 w 1980551"/>
              <a:gd name="connsiteY6" fmla="*/ 212484 h 546206"/>
              <a:gd name="connsiteX7" fmla="*/ 625785 w 1980551"/>
              <a:gd name="connsiteY7" fmla="*/ 212485 h 546206"/>
              <a:gd name="connsiteX8" fmla="*/ 625785 w 1980551"/>
              <a:gd name="connsiteY8" fmla="*/ 212484 h 546206"/>
              <a:gd name="connsiteX9" fmla="*/ 1118702 w 1980551"/>
              <a:gd name="connsiteY9" fmla="*/ 208403 h 546206"/>
              <a:gd name="connsiteX10" fmla="*/ 1024936 w 1980551"/>
              <a:gd name="connsiteY10" fmla="*/ 353550 h 546206"/>
              <a:gd name="connsiteX11" fmla="*/ 1035421 w 1980551"/>
              <a:gd name="connsiteY11" fmla="*/ 436907 h 546206"/>
              <a:gd name="connsiteX12" fmla="*/ 1144003 w 1980551"/>
              <a:gd name="connsiteY12" fmla="*/ 304584 h 546206"/>
              <a:gd name="connsiteX13" fmla="*/ 1155101 w 1980551"/>
              <a:gd name="connsiteY13" fmla="*/ 223559 h 546206"/>
              <a:gd name="connsiteX14" fmla="*/ 1118702 w 1980551"/>
              <a:gd name="connsiteY14" fmla="*/ 208404 h 546206"/>
              <a:gd name="connsiteX15" fmla="*/ 422544 w 1980551"/>
              <a:gd name="connsiteY15" fmla="*/ 140485 h 546206"/>
              <a:gd name="connsiteX16" fmla="*/ 244526 w 1980551"/>
              <a:gd name="connsiteY16" fmla="*/ 249208 h 546206"/>
              <a:gd name="connsiteX17" fmla="*/ 247611 w 1980551"/>
              <a:gd name="connsiteY17" fmla="*/ 254455 h 546206"/>
              <a:gd name="connsiteX18" fmla="*/ 424667 w 1980551"/>
              <a:gd name="connsiteY18" fmla="*/ 253871 h 546206"/>
              <a:gd name="connsiteX19" fmla="*/ 464769 w 1980551"/>
              <a:gd name="connsiteY19" fmla="*/ 199659 h 546206"/>
              <a:gd name="connsiteX20" fmla="*/ 460448 w 1980551"/>
              <a:gd name="connsiteY20" fmla="*/ 155940 h 546206"/>
              <a:gd name="connsiteX21" fmla="*/ 422544 w 1980551"/>
              <a:gd name="connsiteY21" fmla="*/ 140485 h 546206"/>
              <a:gd name="connsiteX22" fmla="*/ 1910799 w 1980551"/>
              <a:gd name="connsiteY22" fmla="*/ 116378 h 546206"/>
              <a:gd name="connsiteX23" fmla="*/ 1977462 w 1980551"/>
              <a:gd name="connsiteY23" fmla="*/ 177511 h 546206"/>
              <a:gd name="connsiteX24" fmla="*/ 1980551 w 1980551"/>
              <a:gd name="connsiteY24" fmla="*/ 203157 h 546206"/>
              <a:gd name="connsiteX25" fmla="*/ 1980542 w 1980551"/>
              <a:gd name="connsiteY25" fmla="*/ 203157 h 546206"/>
              <a:gd name="connsiteX26" fmla="*/ 1973147 w 1980551"/>
              <a:gd name="connsiteY26" fmla="*/ 252123 h 546206"/>
              <a:gd name="connsiteX27" fmla="*/ 1883075 w 1980551"/>
              <a:gd name="connsiteY27" fmla="*/ 523181 h 546206"/>
              <a:gd name="connsiteX28" fmla="*/ 1761533 w 1980551"/>
              <a:gd name="connsiteY28" fmla="*/ 517934 h 546206"/>
              <a:gd name="connsiteX29" fmla="*/ 1791151 w 1980551"/>
              <a:gd name="connsiteY29" fmla="*/ 408927 h 546206"/>
              <a:gd name="connsiteX30" fmla="*/ 1809039 w 1980551"/>
              <a:gd name="connsiteY30" fmla="*/ 256204 h 546206"/>
              <a:gd name="connsiteX31" fmla="*/ 1769561 w 1980551"/>
              <a:gd name="connsiteY31" fmla="*/ 261450 h 546206"/>
              <a:gd name="connsiteX32" fmla="*/ 1449374 w 1980551"/>
              <a:gd name="connsiteY32" fmla="*/ 521431 h 546206"/>
              <a:gd name="connsiteX33" fmla="*/ 1338334 w 1980551"/>
              <a:gd name="connsiteY33" fmla="*/ 516769 h 546206"/>
              <a:gd name="connsiteX34" fmla="*/ 1337097 w 1980551"/>
              <a:gd name="connsiteY34" fmla="*/ 502195 h 546206"/>
              <a:gd name="connsiteX35" fmla="*/ 1468499 w 1980551"/>
              <a:gd name="connsiteY35" fmla="*/ 148362 h 546206"/>
              <a:gd name="connsiteX36" fmla="*/ 1582635 w 1980551"/>
              <a:gd name="connsiteY36" fmla="*/ 143700 h 546206"/>
              <a:gd name="connsiteX37" fmla="*/ 1619025 w 1980551"/>
              <a:gd name="connsiteY37" fmla="*/ 212485 h 546206"/>
              <a:gd name="connsiteX38" fmla="*/ 1910799 w 1980551"/>
              <a:gd name="connsiteY38" fmla="*/ 116378 h 546206"/>
              <a:gd name="connsiteX39" fmla="*/ 1167615 w 1980551"/>
              <a:gd name="connsiteY39" fmla="*/ 103288 h 546206"/>
              <a:gd name="connsiteX40" fmla="*/ 1276642 w 1980551"/>
              <a:gd name="connsiteY40" fmla="*/ 116302 h 546206"/>
              <a:gd name="connsiteX41" fmla="*/ 1352520 w 1980551"/>
              <a:gd name="connsiteY41" fmla="*/ 202573 h 546206"/>
              <a:gd name="connsiteX42" fmla="*/ 1352520 w 1980551"/>
              <a:gd name="connsiteY42" fmla="*/ 202574 h 546206"/>
              <a:gd name="connsiteX43" fmla="*/ 1283424 w 1980551"/>
              <a:gd name="connsiteY43" fmla="*/ 396104 h 546206"/>
              <a:gd name="connsiteX44" fmla="*/ 1076135 w 1980551"/>
              <a:gd name="connsiteY44" fmla="*/ 534837 h 546206"/>
              <a:gd name="connsiteX45" fmla="*/ 822579 w 1980551"/>
              <a:gd name="connsiteY45" fmla="*/ 413591 h 546206"/>
              <a:gd name="connsiteX46" fmla="*/ 892297 w 1980551"/>
              <a:gd name="connsiteY46" fmla="*/ 239880 h 546206"/>
              <a:gd name="connsiteX47" fmla="*/ 1167615 w 1980551"/>
              <a:gd name="connsiteY47" fmla="*/ 103288 h 546206"/>
              <a:gd name="connsiteX48" fmla="*/ 496231 w 1980551"/>
              <a:gd name="connsiteY48" fmla="*/ 302 h 546206"/>
              <a:gd name="connsiteX49" fmla="*/ 620979 w 1980551"/>
              <a:gd name="connsiteY49" fmla="*/ 145853 h 546206"/>
              <a:gd name="connsiteX50" fmla="*/ 625785 w 1980551"/>
              <a:gd name="connsiteY50" fmla="*/ 212484 h 546206"/>
              <a:gd name="connsiteX51" fmla="*/ 617484 w 1980551"/>
              <a:gd name="connsiteY51" fmla="*/ 264746 h 546206"/>
              <a:gd name="connsiteX52" fmla="*/ 356805 w 1980551"/>
              <a:gd name="connsiteY52" fmla="*/ 359380 h 546206"/>
              <a:gd name="connsiteX53" fmla="*/ 195171 w 1980551"/>
              <a:gd name="connsiteY53" fmla="*/ 355884 h 546206"/>
              <a:gd name="connsiteX54" fmla="*/ 248228 w 1980551"/>
              <a:gd name="connsiteY54" fmla="*/ 440989 h 546206"/>
              <a:gd name="connsiteX55" fmla="*/ 414797 w 1980551"/>
              <a:gd name="connsiteY55" fmla="*/ 417670 h 546206"/>
              <a:gd name="connsiteX56" fmla="*/ 603576 w 1980551"/>
              <a:gd name="connsiteY56" fmla="*/ 468969 h 546206"/>
              <a:gd name="connsiteX57" fmla="*/ 446875 w 1980551"/>
              <a:gd name="connsiteY57" fmla="*/ 537754 h 546206"/>
              <a:gd name="connsiteX58" fmla="*/ 25517 w 1980551"/>
              <a:gd name="connsiteY58" fmla="*/ 251539 h 546206"/>
              <a:gd name="connsiteX59" fmla="*/ 453045 w 1980551"/>
              <a:gd name="connsiteY59" fmla="*/ 6131 h 546206"/>
              <a:gd name="connsiteX60" fmla="*/ 496231 w 1980551"/>
              <a:gd name="connsiteY60" fmla="*/ 302 h 546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1980551" h="546206">
                <a:moveTo>
                  <a:pt x="738049" y="247957"/>
                </a:moveTo>
                <a:cubicBezTo>
                  <a:pt x="751303" y="246818"/>
                  <a:pt x="766253" y="248171"/>
                  <a:pt x="783101" y="252123"/>
                </a:cubicBezTo>
                <a:cubicBezTo>
                  <a:pt x="799539" y="257324"/>
                  <a:pt x="803421" y="267613"/>
                  <a:pt x="807161" y="281851"/>
                </a:cubicBezTo>
                <a:cubicBezTo>
                  <a:pt x="793784" y="307306"/>
                  <a:pt x="796773" y="340698"/>
                  <a:pt x="769527" y="359961"/>
                </a:cubicBezTo>
                <a:cubicBezTo>
                  <a:pt x="732267" y="386303"/>
                  <a:pt x="638411" y="386375"/>
                  <a:pt x="659099" y="322656"/>
                </a:cubicBezTo>
                <a:cubicBezTo>
                  <a:pt x="673787" y="277225"/>
                  <a:pt x="698286" y="251375"/>
                  <a:pt x="738049" y="247957"/>
                </a:cubicBezTo>
                <a:close/>
                <a:moveTo>
                  <a:pt x="625785" y="212484"/>
                </a:moveTo>
                <a:lnTo>
                  <a:pt x="625785" y="212485"/>
                </a:lnTo>
                <a:lnTo>
                  <a:pt x="625785" y="212484"/>
                </a:lnTo>
                <a:close/>
                <a:moveTo>
                  <a:pt x="1118702" y="208403"/>
                </a:moveTo>
                <a:cubicBezTo>
                  <a:pt x="1047099" y="208403"/>
                  <a:pt x="1038373" y="302848"/>
                  <a:pt x="1024936" y="353550"/>
                </a:cubicBezTo>
                <a:cubicBezTo>
                  <a:pt x="1021554" y="372712"/>
                  <a:pt x="998853" y="436907"/>
                  <a:pt x="1035421" y="436907"/>
                </a:cubicBezTo>
                <a:cubicBezTo>
                  <a:pt x="1121512" y="453268"/>
                  <a:pt x="1129523" y="364043"/>
                  <a:pt x="1144003" y="304584"/>
                </a:cubicBezTo>
                <a:cubicBezTo>
                  <a:pt x="1149321" y="282710"/>
                  <a:pt x="1159881" y="246011"/>
                  <a:pt x="1155101" y="223559"/>
                </a:cubicBezTo>
                <a:cubicBezTo>
                  <a:pt x="1155101" y="206858"/>
                  <a:pt x="1130457" y="209520"/>
                  <a:pt x="1118702" y="208404"/>
                </a:cubicBezTo>
                <a:close/>
                <a:moveTo>
                  <a:pt x="422544" y="140485"/>
                </a:moveTo>
                <a:cubicBezTo>
                  <a:pt x="364403" y="152951"/>
                  <a:pt x="260427" y="234184"/>
                  <a:pt x="244526" y="249208"/>
                </a:cubicBezTo>
                <a:cubicBezTo>
                  <a:pt x="241865" y="254272"/>
                  <a:pt x="243876" y="252703"/>
                  <a:pt x="247611" y="254455"/>
                </a:cubicBezTo>
                <a:cubicBezTo>
                  <a:pt x="306610" y="254455"/>
                  <a:pt x="365748" y="253871"/>
                  <a:pt x="424667" y="253871"/>
                </a:cubicBezTo>
                <a:cubicBezTo>
                  <a:pt x="463469" y="247819"/>
                  <a:pt x="464769" y="236661"/>
                  <a:pt x="464769" y="199659"/>
                </a:cubicBezTo>
                <a:cubicBezTo>
                  <a:pt x="464769" y="185193"/>
                  <a:pt x="465395" y="169895"/>
                  <a:pt x="460448" y="155940"/>
                </a:cubicBezTo>
                <a:cubicBezTo>
                  <a:pt x="456213" y="139815"/>
                  <a:pt x="441925" y="136330"/>
                  <a:pt x="422544" y="140485"/>
                </a:cubicBezTo>
                <a:close/>
                <a:moveTo>
                  <a:pt x="1910799" y="116378"/>
                </a:moveTo>
                <a:cubicBezTo>
                  <a:pt x="1940083" y="121072"/>
                  <a:pt x="1963808" y="138810"/>
                  <a:pt x="1977462" y="177511"/>
                </a:cubicBezTo>
                <a:cubicBezTo>
                  <a:pt x="1979011" y="186251"/>
                  <a:pt x="1980551" y="194174"/>
                  <a:pt x="1980551" y="203157"/>
                </a:cubicBezTo>
                <a:lnTo>
                  <a:pt x="1980542" y="203157"/>
                </a:lnTo>
                <a:cubicBezTo>
                  <a:pt x="1980542" y="219464"/>
                  <a:pt x="1976924" y="236275"/>
                  <a:pt x="1973147" y="252123"/>
                </a:cubicBezTo>
                <a:cubicBezTo>
                  <a:pt x="1950874" y="345132"/>
                  <a:pt x="1914963" y="433618"/>
                  <a:pt x="1883075" y="523181"/>
                </a:cubicBezTo>
                <a:cubicBezTo>
                  <a:pt x="1853810" y="550829"/>
                  <a:pt x="1792977" y="535774"/>
                  <a:pt x="1761533" y="517934"/>
                </a:cubicBezTo>
                <a:cubicBezTo>
                  <a:pt x="1745808" y="503073"/>
                  <a:pt x="1784907" y="427251"/>
                  <a:pt x="1791151" y="408927"/>
                </a:cubicBezTo>
                <a:cubicBezTo>
                  <a:pt x="1800734" y="380784"/>
                  <a:pt x="1853078" y="277007"/>
                  <a:pt x="1809039" y="256204"/>
                </a:cubicBezTo>
                <a:cubicBezTo>
                  <a:pt x="1794878" y="256204"/>
                  <a:pt x="1783612" y="257956"/>
                  <a:pt x="1769561" y="261450"/>
                </a:cubicBezTo>
                <a:cubicBezTo>
                  <a:pt x="1637780" y="305043"/>
                  <a:pt x="1544241" y="431793"/>
                  <a:pt x="1449374" y="521431"/>
                </a:cubicBezTo>
                <a:cubicBezTo>
                  <a:pt x="1408254" y="540996"/>
                  <a:pt x="1378729" y="535989"/>
                  <a:pt x="1338334" y="516769"/>
                </a:cubicBezTo>
                <a:cubicBezTo>
                  <a:pt x="1334319" y="512983"/>
                  <a:pt x="1336264" y="506965"/>
                  <a:pt x="1337097" y="502195"/>
                </a:cubicBezTo>
                <a:cubicBezTo>
                  <a:pt x="1367664" y="381550"/>
                  <a:pt x="1416012" y="261935"/>
                  <a:pt x="1468499" y="148362"/>
                </a:cubicBezTo>
                <a:cubicBezTo>
                  <a:pt x="1476752" y="125175"/>
                  <a:pt x="1561600" y="133767"/>
                  <a:pt x="1582635" y="143700"/>
                </a:cubicBezTo>
                <a:cubicBezTo>
                  <a:pt x="1582635" y="169383"/>
                  <a:pt x="1579782" y="212485"/>
                  <a:pt x="1619025" y="212485"/>
                </a:cubicBezTo>
                <a:cubicBezTo>
                  <a:pt x="1685071" y="205607"/>
                  <a:pt x="1822948" y="102296"/>
                  <a:pt x="1910799" y="116378"/>
                </a:cubicBezTo>
                <a:close/>
                <a:moveTo>
                  <a:pt x="1167615" y="103288"/>
                </a:moveTo>
                <a:cubicBezTo>
                  <a:pt x="1204734" y="103504"/>
                  <a:pt x="1241814" y="108095"/>
                  <a:pt x="1276642" y="116302"/>
                </a:cubicBezTo>
                <a:cubicBezTo>
                  <a:pt x="1323794" y="132512"/>
                  <a:pt x="1348894" y="154205"/>
                  <a:pt x="1352520" y="202573"/>
                </a:cubicBezTo>
                <a:lnTo>
                  <a:pt x="1352520" y="202574"/>
                </a:lnTo>
                <a:cubicBezTo>
                  <a:pt x="1352520" y="263398"/>
                  <a:pt x="1312410" y="343309"/>
                  <a:pt x="1283424" y="396104"/>
                </a:cubicBezTo>
                <a:cubicBezTo>
                  <a:pt x="1237886" y="479183"/>
                  <a:pt x="1176296" y="528965"/>
                  <a:pt x="1076135" y="534837"/>
                </a:cubicBezTo>
                <a:cubicBezTo>
                  <a:pt x="987612" y="540025"/>
                  <a:pt x="787527" y="554548"/>
                  <a:pt x="822579" y="413591"/>
                </a:cubicBezTo>
                <a:cubicBezTo>
                  <a:pt x="837783" y="352570"/>
                  <a:pt x="871557" y="298807"/>
                  <a:pt x="892297" y="239880"/>
                </a:cubicBezTo>
                <a:cubicBezTo>
                  <a:pt x="944555" y="141356"/>
                  <a:pt x="1056258" y="102639"/>
                  <a:pt x="1167615" y="103288"/>
                </a:cubicBezTo>
                <a:close/>
                <a:moveTo>
                  <a:pt x="496231" y="302"/>
                </a:moveTo>
                <a:cubicBezTo>
                  <a:pt x="578563" y="-5507"/>
                  <a:pt x="610271" y="73564"/>
                  <a:pt x="620979" y="145853"/>
                </a:cubicBezTo>
                <a:lnTo>
                  <a:pt x="625785" y="212484"/>
                </a:lnTo>
                <a:lnTo>
                  <a:pt x="617484" y="264746"/>
                </a:lnTo>
                <a:cubicBezTo>
                  <a:pt x="586877" y="369512"/>
                  <a:pt x="480395" y="359915"/>
                  <a:pt x="356805" y="359380"/>
                </a:cubicBezTo>
                <a:cubicBezTo>
                  <a:pt x="303128" y="359171"/>
                  <a:pt x="248235" y="355884"/>
                  <a:pt x="195171" y="355884"/>
                </a:cubicBezTo>
                <a:cubicBezTo>
                  <a:pt x="175591" y="374648"/>
                  <a:pt x="232280" y="431567"/>
                  <a:pt x="248228" y="440989"/>
                </a:cubicBezTo>
                <a:cubicBezTo>
                  <a:pt x="302667" y="473033"/>
                  <a:pt x="370974" y="459274"/>
                  <a:pt x="414797" y="417670"/>
                </a:cubicBezTo>
                <a:cubicBezTo>
                  <a:pt x="438341" y="417670"/>
                  <a:pt x="691052" y="386460"/>
                  <a:pt x="603576" y="468969"/>
                </a:cubicBezTo>
                <a:cubicBezTo>
                  <a:pt x="561238" y="504563"/>
                  <a:pt x="501337" y="525587"/>
                  <a:pt x="446875" y="537754"/>
                </a:cubicBezTo>
                <a:cubicBezTo>
                  <a:pt x="273588" y="576475"/>
                  <a:pt x="-100733" y="482347"/>
                  <a:pt x="25517" y="251539"/>
                </a:cubicBezTo>
                <a:cubicBezTo>
                  <a:pt x="111822" y="117325"/>
                  <a:pt x="298753" y="43934"/>
                  <a:pt x="453045" y="6131"/>
                </a:cubicBezTo>
                <a:cubicBezTo>
                  <a:pt x="467412" y="3415"/>
                  <a:pt x="481605" y="1326"/>
                  <a:pt x="496231" y="302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00"/>
            </a:lvl1pPr>
            <a:lvl5pPr>
              <a:defRPr/>
            </a:lvl5pPr>
          </a:lstStyle>
          <a:p>
            <a:pPr lvl="0"/>
            <a:r>
              <a:rPr lang="de-DE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871144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chart with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D89DC9A-FBE8-D440-F9E1-B90DCE3E7EC9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9144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D39F6FF2-2FFC-44E2-8577-75052B686D9F}" type="datetime1">
              <a:rPr lang="de-DE" smtClean="0"/>
              <a:t>29.04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7627D1-B40C-E389-8DD5-0DD1E92EA48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9144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65A4D41-9BDD-B66B-9FB7-CE532CA1E31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9144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7" name="Image">
            <a:extLst>
              <a:ext uri="{FF2B5EF4-FFF2-40B4-BE49-F238E27FC236}">
                <a16:creationId xmlns:a16="http://schemas.microsoft.com/office/drawing/2014/main" id="{3A04AC39-7148-C419-6962-E080928AA6A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29000" y="0"/>
            <a:ext cx="5715000" cy="6858000"/>
          </a:xfrm>
          <a:solidFill>
            <a:srgbClr val="999999"/>
          </a:solidFill>
        </p:spPr>
        <p:txBody>
          <a:bodyPr tIns="0"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9" name="Contact information">
            <a:extLst>
              <a:ext uri="{FF2B5EF4-FFF2-40B4-BE49-F238E27FC236}">
                <a16:creationId xmlns:a16="http://schemas.microsoft.com/office/drawing/2014/main" id="{711219D6-CE9D-0F40-A923-24FB0FE247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3212977"/>
            <a:ext cx="2646000" cy="235385"/>
          </a:xfrm>
        </p:spPr>
        <p:txBody>
          <a:bodyPr>
            <a:noAutofit/>
          </a:bodyPr>
          <a:lstStyle>
            <a:lvl1pPr>
              <a:defRPr sz="105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contact</a:t>
            </a:r>
            <a:r>
              <a:rPr lang="de-DE"/>
              <a:t> Information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33495D4A-F00D-763A-E57E-AF2EFD0C60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2865601"/>
            <a:ext cx="2646000" cy="302647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name</a:t>
            </a:r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9906940-4A55-7491-73FA-F7C757B94F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512764"/>
            <a:ext cx="2646000" cy="2243691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4050">
                <a:solidFill>
                  <a:schemeClr val="accent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/>
              <a:t>Edit </a:t>
            </a:r>
            <a:r>
              <a:rPr lang="de-DE" err="1"/>
              <a:t>closing</a:t>
            </a:r>
            <a:r>
              <a:rPr lang="de-DE"/>
              <a:t> </a:t>
            </a:r>
            <a:r>
              <a:rPr lang="de-DE" err="1"/>
              <a:t>statement</a:t>
            </a:r>
            <a:endParaRPr lang="de-DE"/>
          </a:p>
        </p:txBody>
      </p:sp>
      <p:pic>
        <p:nvPicPr>
          <p:cNvPr id="10" name="MIO_AGENDA_LAST_SLIDE" descr="Schließen mit einfarbiger Füllung" hidden="1">
            <a:extLst>
              <a:ext uri="{FF2B5EF4-FFF2-40B4-BE49-F238E27FC236}">
                <a16:creationId xmlns:a16="http://schemas.microsoft.com/office/drawing/2014/main" id="{B448BCEC-C644-97C8-EDFE-A5318AB3EA7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009000" y="0"/>
            <a:ext cx="135000" cy="180000"/>
          </a:xfrm>
          <a:prstGeom prst="rect">
            <a:avLst/>
          </a:prstGeom>
        </p:spPr>
      </p:pic>
      <p:pic>
        <p:nvPicPr>
          <p:cNvPr id="11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B00E2E16-40EB-598C-C85E-F2E8A9EE055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009000" y="0"/>
            <a:ext cx="135000" cy="180000"/>
          </a:xfrm>
          <a:prstGeom prst="rect">
            <a:avLst/>
          </a:prstGeom>
        </p:spPr>
      </p:pic>
      <p:pic>
        <p:nvPicPr>
          <p:cNvPr id="12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D64DA533-F61A-5EEF-7809-39495E4A5F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009000" y="0"/>
            <a:ext cx="135000" cy="180000"/>
          </a:xfrm>
          <a:prstGeom prst="rect">
            <a:avLst/>
          </a:prstGeom>
        </p:spPr>
      </p:pic>
      <p:sp>
        <p:nvSpPr>
          <p:cNvPr id="16" name="E.ON Logo">
            <a:extLst>
              <a:ext uri="{FF2B5EF4-FFF2-40B4-BE49-F238E27FC236}">
                <a16:creationId xmlns:a16="http://schemas.microsoft.com/office/drawing/2014/main" id="{987A17B9-31C0-7037-5B47-DBECF4F8697D}"/>
              </a:ext>
            </a:extLst>
          </p:cNvPr>
          <p:cNvSpPr/>
          <p:nvPr userDrawn="1"/>
        </p:nvSpPr>
        <p:spPr>
          <a:xfrm>
            <a:off x="359569" y="5891142"/>
            <a:ext cx="1234916" cy="454095"/>
          </a:xfrm>
          <a:custGeom>
            <a:avLst/>
            <a:gdLst>
              <a:gd name="connsiteX0" fmla="*/ 1202810 w 1761324"/>
              <a:gd name="connsiteY0" fmla="*/ 180152 h 485747"/>
              <a:gd name="connsiteX1" fmla="*/ 1141362 w 1761324"/>
              <a:gd name="connsiteY1" fmla="*/ 352260 h 485747"/>
              <a:gd name="connsiteX2" fmla="*/ 957018 w 1761324"/>
              <a:gd name="connsiteY2" fmla="*/ 475637 h 485747"/>
              <a:gd name="connsiteX3" fmla="*/ 731528 w 1761324"/>
              <a:gd name="connsiteY3" fmla="*/ 367812 h 485747"/>
              <a:gd name="connsiteX4" fmla="*/ 793529 w 1761324"/>
              <a:gd name="connsiteY4" fmla="*/ 213329 h 485747"/>
              <a:gd name="connsiteX5" fmla="*/ 1135331 w 1761324"/>
              <a:gd name="connsiteY5" fmla="*/ 103429 h 485747"/>
              <a:gd name="connsiteX6" fmla="*/ 1202810 w 1761324"/>
              <a:gd name="connsiteY6" fmla="*/ 180151 h 485747"/>
              <a:gd name="connsiteX7" fmla="*/ 1202810 w 1761324"/>
              <a:gd name="connsiteY7" fmla="*/ 180152 h 485747"/>
              <a:gd name="connsiteX8" fmla="*/ 994873 w 1761324"/>
              <a:gd name="connsiteY8" fmla="*/ 185336 h 485747"/>
              <a:gd name="connsiteX9" fmla="*/ 911486 w 1761324"/>
              <a:gd name="connsiteY9" fmla="*/ 314417 h 485747"/>
              <a:gd name="connsiteX10" fmla="*/ 920810 w 1761324"/>
              <a:gd name="connsiteY10" fmla="*/ 388547 h 485747"/>
              <a:gd name="connsiteX11" fmla="*/ 1017374 w 1761324"/>
              <a:gd name="connsiteY11" fmla="*/ 270871 h 485747"/>
              <a:gd name="connsiteX12" fmla="*/ 1027243 w 1761324"/>
              <a:gd name="connsiteY12" fmla="*/ 198814 h 485747"/>
              <a:gd name="connsiteX13" fmla="*/ 994873 w 1761324"/>
              <a:gd name="connsiteY13" fmla="*/ 185337 h 485747"/>
              <a:gd name="connsiteX14" fmla="*/ 994873 w 1761324"/>
              <a:gd name="connsiteY14" fmla="*/ 185336 h 485747"/>
              <a:gd name="connsiteX15" fmla="*/ 556517 w 1761324"/>
              <a:gd name="connsiteY15" fmla="*/ 188965 h 485747"/>
              <a:gd name="connsiteX16" fmla="*/ 317310 w 1761324"/>
              <a:gd name="connsiteY16" fmla="*/ 319601 h 485747"/>
              <a:gd name="connsiteX17" fmla="*/ 173567 w 1761324"/>
              <a:gd name="connsiteY17" fmla="*/ 316492 h 485747"/>
              <a:gd name="connsiteX18" fmla="*/ 220751 w 1761324"/>
              <a:gd name="connsiteY18" fmla="*/ 392177 h 485747"/>
              <a:gd name="connsiteX19" fmla="*/ 368883 w 1761324"/>
              <a:gd name="connsiteY19" fmla="*/ 371439 h 485747"/>
              <a:gd name="connsiteX20" fmla="*/ 536766 w 1761324"/>
              <a:gd name="connsiteY20" fmla="*/ 417060 h 485747"/>
              <a:gd name="connsiteX21" fmla="*/ 397410 w 1761324"/>
              <a:gd name="connsiteY21" fmla="*/ 478231 h 485747"/>
              <a:gd name="connsiteX22" fmla="*/ 22692 w 1761324"/>
              <a:gd name="connsiteY22" fmla="*/ 223697 h 485747"/>
              <a:gd name="connsiteX23" fmla="*/ 402897 w 1761324"/>
              <a:gd name="connsiteY23" fmla="*/ 5453 h 485747"/>
              <a:gd name="connsiteX24" fmla="*/ 441303 w 1761324"/>
              <a:gd name="connsiteY24" fmla="*/ 269 h 485747"/>
              <a:gd name="connsiteX25" fmla="*/ 556517 w 1761324"/>
              <a:gd name="connsiteY25" fmla="*/ 188966 h 485747"/>
              <a:gd name="connsiteX26" fmla="*/ 556517 w 1761324"/>
              <a:gd name="connsiteY26" fmla="*/ 188965 h 485747"/>
              <a:gd name="connsiteX27" fmla="*/ 413323 w 1761324"/>
              <a:gd name="connsiteY27" fmla="*/ 177560 h 485747"/>
              <a:gd name="connsiteX28" fmla="*/ 409481 w 1761324"/>
              <a:gd name="connsiteY28" fmla="*/ 138680 h 485747"/>
              <a:gd name="connsiteX29" fmla="*/ 217459 w 1761324"/>
              <a:gd name="connsiteY29" fmla="*/ 221624 h 485747"/>
              <a:gd name="connsiteX30" fmla="*/ 220202 w 1761324"/>
              <a:gd name="connsiteY30" fmla="*/ 226290 h 485747"/>
              <a:gd name="connsiteX31" fmla="*/ 377660 w 1761324"/>
              <a:gd name="connsiteY31" fmla="*/ 225771 h 485747"/>
              <a:gd name="connsiteX32" fmla="*/ 413323 w 1761324"/>
              <a:gd name="connsiteY32" fmla="*/ 177560 h 485747"/>
              <a:gd name="connsiteX33" fmla="*/ 413323 w 1761324"/>
              <a:gd name="connsiteY33" fmla="*/ 177560 h 485747"/>
              <a:gd name="connsiteX34" fmla="*/ 717816 w 1761324"/>
              <a:gd name="connsiteY34" fmla="*/ 250654 h 485747"/>
              <a:gd name="connsiteX35" fmla="*/ 684348 w 1761324"/>
              <a:gd name="connsiteY35" fmla="*/ 320118 h 485747"/>
              <a:gd name="connsiteX36" fmla="*/ 586143 w 1761324"/>
              <a:gd name="connsiteY36" fmla="*/ 286942 h 485747"/>
              <a:gd name="connsiteX37" fmla="*/ 696419 w 1761324"/>
              <a:gd name="connsiteY37" fmla="*/ 224216 h 485747"/>
              <a:gd name="connsiteX38" fmla="*/ 717816 w 1761324"/>
              <a:gd name="connsiteY38" fmla="*/ 250654 h 485747"/>
              <a:gd name="connsiteX39" fmla="*/ 717816 w 1761324"/>
              <a:gd name="connsiteY39" fmla="*/ 250654 h 485747"/>
              <a:gd name="connsiteX40" fmla="*/ 1761317 w 1761324"/>
              <a:gd name="connsiteY40" fmla="*/ 180670 h 485747"/>
              <a:gd name="connsiteX41" fmla="*/ 1754740 w 1761324"/>
              <a:gd name="connsiteY41" fmla="*/ 224216 h 485747"/>
              <a:gd name="connsiteX42" fmla="*/ 1674638 w 1761324"/>
              <a:gd name="connsiteY42" fmla="*/ 465271 h 485747"/>
              <a:gd name="connsiteX43" fmla="*/ 1566550 w 1761324"/>
              <a:gd name="connsiteY43" fmla="*/ 460605 h 485747"/>
              <a:gd name="connsiteX44" fmla="*/ 1592889 w 1761324"/>
              <a:gd name="connsiteY44" fmla="*/ 363664 h 485747"/>
              <a:gd name="connsiteX45" fmla="*/ 1608797 w 1761324"/>
              <a:gd name="connsiteY45" fmla="*/ 227846 h 485747"/>
              <a:gd name="connsiteX46" fmla="*/ 1573689 w 1761324"/>
              <a:gd name="connsiteY46" fmla="*/ 232511 h 485747"/>
              <a:gd name="connsiteX47" fmla="*/ 1288943 w 1761324"/>
              <a:gd name="connsiteY47" fmla="*/ 463715 h 485747"/>
              <a:gd name="connsiteX48" fmla="*/ 1190194 w 1761324"/>
              <a:gd name="connsiteY48" fmla="*/ 459569 h 485747"/>
              <a:gd name="connsiteX49" fmla="*/ 1189094 w 1761324"/>
              <a:gd name="connsiteY49" fmla="*/ 446608 h 485747"/>
              <a:gd name="connsiteX50" fmla="*/ 1305951 w 1761324"/>
              <a:gd name="connsiteY50" fmla="*/ 131941 h 485747"/>
              <a:gd name="connsiteX51" fmla="*/ 1407454 w 1761324"/>
              <a:gd name="connsiteY51" fmla="*/ 127795 h 485747"/>
              <a:gd name="connsiteX52" fmla="*/ 1439816 w 1761324"/>
              <a:gd name="connsiteY52" fmla="*/ 188966 h 485747"/>
              <a:gd name="connsiteX53" fmla="*/ 1758578 w 1761324"/>
              <a:gd name="connsiteY53" fmla="*/ 157863 h 485747"/>
              <a:gd name="connsiteX54" fmla="*/ 1761325 w 1761324"/>
              <a:gd name="connsiteY54" fmla="*/ 180670 h 485747"/>
              <a:gd name="connsiteX55" fmla="*/ 1761317 w 1761324"/>
              <a:gd name="connsiteY55" fmla="*/ 180670 h 485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1761324" h="485747">
                <a:moveTo>
                  <a:pt x="1202810" y="180152"/>
                </a:moveTo>
                <a:cubicBezTo>
                  <a:pt x="1202810" y="234243"/>
                  <a:pt x="1167140" y="305309"/>
                  <a:pt x="1141362" y="352260"/>
                </a:cubicBezTo>
                <a:cubicBezTo>
                  <a:pt x="1100865" y="426143"/>
                  <a:pt x="1046092" y="470415"/>
                  <a:pt x="957018" y="475637"/>
                </a:cubicBezTo>
                <a:cubicBezTo>
                  <a:pt x="878293" y="480251"/>
                  <a:pt x="700356" y="493166"/>
                  <a:pt x="731528" y="367812"/>
                </a:cubicBezTo>
                <a:cubicBezTo>
                  <a:pt x="745049" y="313545"/>
                  <a:pt x="775084" y="265733"/>
                  <a:pt x="793529" y="213329"/>
                </a:cubicBezTo>
                <a:cubicBezTo>
                  <a:pt x="855493" y="96504"/>
                  <a:pt x="1011440" y="74234"/>
                  <a:pt x="1135331" y="103429"/>
                </a:cubicBezTo>
                <a:cubicBezTo>
                  <a:pt x="1177264" y="117845"/>
                  <a:pt x="1199585" y="137137"/>
                  <a:pt x="1202810" y="180151"/>
                </a:cubicBezTo>
                <a:lnTo>
                  <a:pt x="1202810" y="180152"/>
                </a:lnTo>
                <a:close/>
                <a:moveTo>
                  <a:pt x="994873" y="185336"/>
                </a:moveTo>
                <a:cubicBezTo>
                  <a:pt x="931196" y="185336"/>
                  <a:pt x="923436" y="269327"/>
                  <a:pt x="911486" y="314417"/>
                </a:cubicBezTo>
                <a:cubicBezTo>
                  <a:pt x="908478" y="331458"/>
                  <a:pt x="888290" y="388547"/>
                  <a:pt x="920810" y="388547"/>
                </a:cubicBezTo>
                <a:cubicBezTo>
                  <a:pt x="997372" y="403097"/>
                  <a:pt x="1004496" y="323748"/>
                  <a:pt x="1017374" y="270871"/>
                </a:cubicBezTo>
                <a:cubicBezTo>
                  <a:pt x="1022103" y="251418"/>
                  <a:pt x="1031494" y="218781"/>
                  <a:pt x="1027243" y="198814"/>
                </a:cubicBezTo>
                <a:cubicBezTo>
                  <a:pt x="1027243" y="183962"/>
                  <a:pt x="1005327" y="186329"/>
                  <a:pt x="994873" y="185337"/>
                </a:cubicBezTo>
                <a:lnTo>
                  <a:pt x="994873" y="185336"/>
                </a:lnTo>
                <a:close/>
                <a:moveTo>
                  <a:pt x="556517" y="188965"/>
                </a:moveTo>
                <a:cubicBezTo>
                  <a:pt x="548660" y="331215"/>
                  <a:pt x="442921" y="320145"/>
                  <a:pt x="317310" y="319601"/>
                </a:cubicBezTo>
                <a:cubicBezTo>
                  <a:pt x="269574" y="319415"/>
                  <a:pt x="220757" y="316492"/>
                  <a:pt x="173567" y="316492"/>
                </a:cubicBezTo>
                <a:cubicBezTo>
                  <a:pt x="156154" y="333179"/>
                  <a:pt x="206568" y="383798"/>
                  <a:pt x="220751" y="392177"/>
                </a:cubicBezTo>
                <a:cubicBezTo>
                  <a:pt x="269164" y="420674"/>
                  <a:pt x="329910" y="408438"/>
                  <a:pt x="368883" y="371439"/>
                </a:cubicBezTo>
                <a:cubicBezTo>
                  <a:pt x="389821" y="371439"/>
                  <a:pt x="614559" y="343684"/>
                  <a:pt x="536766" y="417060"/>
                </a:cubicBezTo>
                <a:cubicBezTo>
                  <a:pt x="499114" y="448714"/>
                  <a:pt x="445844" y="467411"/>
                  <a:pt x="397410" y="478231"/>
                </a:cubicBezTo>
                <a:cubicBezTo>
                  <a:pt x="243304" y="512666"/>
                  <a:pt x="-89584" y="428957"/>
                  <a:pt x="22692" y="223697"/>
                </a:cubicBezTo>
                <a:cubicBezTo>
                  <a:pt x="99444" y="104339"/>
                  <a:pt x="265683" y="39072"/>
                  <a:pt x="402897" y="5453"/>
                </a:cubicBezTo>
                <a:cubicBezTo>
                  <a:pt x="415674" y="3038"/>
                  <a:pt x="428296" y="1180"/>
                  <a:pt x="441303" y="269"/>
                </a:cubicBezTo>
                <a:cubicBezTo>
                  <a:pt x="538928" y="-6619"/>
                  <a:pt x="556517" y="120689"/>
                  <a:pt x="556517" y="188966"/>
                </a:cubicBezTo>
                <a:lnTo>
                  <a:pt x="556517" y="188965"/>
                </a:lnTo>
                <a:close/>
                <a:moveTo>
                  <a:pt x="413323" y="177560"/>
                </a:moveTo>
                <a:cubicBezTo>
                  <a:pt x="413323" y="164695"/>
                  <a:pt x="413880" y="151090"/>
                  <a:pt x="409481" y="138680"/>
                </a:cubicBezTo>
                <a:cubicBezTo>
                  <a:pt x="394414" y="81319"/>
                  <a:pt x="236313" y="203809"/>
                  <a:pt x="217459" y="221624"/>
                </a:cubicBezTo>
                <a:cubicBezTo>
                  <a:pt x="215092" y="226128"/>
                  <a:pt x="216881" y="224732"/>
                  <a:pt x="220202" y="226290"/>
                </a:cubicBezTo>
                <a:cubicBezTo>
                  <a:pt x="272671" y="226290"/>
                  <a:pt x="325263" y="225771"/>
                  <a:pt x="377660" y="225771"/>
                </a:cubicBezTo>
                <a:cubicBezTo>
                  <a:pt x="412167" y="220389"/>
                  <a:pt x="413323" y="210466"/>
                  <a:pt x="413323" y="177560"/>
                </a:cubicBezTo>
                <a:lnTo>
                  <a:pt x="413323" y="177560"/>
                </a:lnTo>
                <a:close/>
                <a:moveTo>
                  <a:pt x="717816" y="250654"/>
                </a:moveTo>
                <a:cubicBezTo>
                  <a:pt x="705920" y="273291"/>
                  <a:pt x="708578" y="302987"/>
                  <a:pt x="684348" y="320118"/>
                </a:cubicBezTo>
                <a:cubicBezTo>
                  <a:pt x="651212" y="343544"/>
                  <a:pt x="567745" y="343608"/>
                  <a:pt x="586143" y="286942"/>
                </a:cubicBezTo>
                <a:cubicBezTo>
                  <a:pt x="603559" y="233072"/>
                  <a:pt x="636487" y="210160"/>
                  <a:pt x="696419" y="224216"/>
                </a:cubicBezTo>
                <a:cubicBezTo>
                  <a:pt x="711038" y="228842"/>
                  <a:pt x="714490" y="237992"/>
                  <a:pt x="717816" y="250654"/>
                </a:cubicBezTo>
                <a:lnTo>
                  <a:pt x="717816" y="250654"/>
                </a:lnTo>
                <a:close/>
                <a:moveTo>
                  <a:pt x="1761317" y="180670"/>
                </a:moveTo>
                <a:cubicBezTo>
                  <a:pt x="1761317" y="195172"/>
                  <a:pt x="1758099" y="210123"/>
                  <a:pt x="1754740" y="224216"/>
                </a:cubicBezTo>
                <a:cubicBezTo>
                  <a:pt x="1734933" y="306930"/>
                  <a:pt x="1702997" y="385622"/>
                  <a:pt x="1674638" y="465271"/>
                </a:cubicBezTo>
                <a:cubicBezTo>
                  <a:pt x="1648613" y="489859"/>
                  <a:pt x="1594513" y="476470"/>
                  <a:pt x="1566550" y="460605"/>
                </a:cubicBezTo>
                <a:cubicBezTo>
                  <a:pt x="1552565" y="447389"/>
                  <a:pt x="1587337" y="379960"/>
                  <a:pt x="1592889" y="363664"/>
                </a:cubicBezTo>
                <a:cubicBezTo>
                  <a:pt x="1601412" y="338636"/>
                  <a:pt x="1647962" y="246346"/>
                  <a:pt x="1608797" y="227846"/>
                </a:cubicBezTo>
                <a:cubicBezTo>
                  <a:pt x="1596204" y="227846"/>
                  <a:pt x="1586185" y="229404"/>
                  <a:pt x="1573689" y="232511"/>
                </a:cubicBezTo>
                <a:cubicBezTo>
                  <a:pt x="1456495" y="271279"/>
                  <a:pt x="1373310" y="383999"/>
                  <a:pt x="1288943" y="463715"/>
                </a:cubicBezTo>
                <a:cubicBezTo>
                  <a:pt x="1252375" y="481114"/>
                  <a:pt x="1226118" y="476662"/>
                  <a:pt x="1190194" y="459569"/>
                </a:cubicBezTo>
                <a:cubicBezTo>
                  <a:pt x="1186624" y="456202"/>
                  <a:pt x="1188353" y="450850"/>
                  <a:pt x="1189094" y="446608"/>
                </a:cubicBezTo>
                <a:cubicBezTo>
                  <a:pt x="1216278" y="339317"/>
                  <a:pt x="1259274" y="232942"/>
                  <a:pt x="1305951" y="131941"/>
                </a:cubicBezTo>
                <a:cubicBezTo>
                  <a:pt x="1313291" y="111320"/>
                  <a:pt x="1388747" y="118961"/>
                  <a:pt x="1407454" y="127795"/>
                </a:cubicBezTo>
                <a:cubicBezTo>
                  <a:pt x="1407454" y="150635"/>
                  <a:pt x="1404917" y="188966"/>
                  <a:pt x="1439816" y="188966"/>
                </a:cubicBezTo>
                <a:cubicBezTo>
                  <a:pt x="1518130" y="180810"/>
                  <a:pt x="1710008" y="20195"/>
                  <a:pt x="1758578" y="157863"/>
                </a:cubicBezTo>
                <a:cubicBezTo>
                  <a:pt x="1759955" y="165636"/>
                  <a:pt x="1761325" y="172682"/>
                  <a:pt x="1761325" y="180670"/>
                </a:cubicBezTo>
                <a:lnTo>
                  <a:pt x="1761317" y="180670"/>
                </a:lnTo>
                <a:close/>
              </a:path>
            </a:pathLst>
          </a:custGeom>
          <a:solidFill>
            <a:schemeClr val="accent1"/>
          </a:solidFill>
          <a:ln w="7461" cap="flat">
            <a:noFill/>
            <a:prstDash val="solid"/>
            <a:miter/>
          </a:ln>
        </p:spPr>
        <p:txBody>
          <a:bodyPr rtlCol="0" anchor="ctr"/>
          <a:lstStyle/>
          <a:p>
            <a:endParaRPr lang="de-DE" sz="1350"/>
          </a:p>
        </p:txBody>
      </p:sp>
    </p:spTree>
    <p:extLst>
      <p:ext uri="{BB962C8B-B14F-4D97-AF65-F5344CB8AC3E}">
        <p14:creationId xmlns:p14="http://schemas.microsoft.com/office/powerpoint/2010/main" val="27885131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4/29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22449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4/29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01587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4/29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0277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4/29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29998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4/29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07265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4/29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92369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tags" Target="../tags/tag1.xml"/><Relationship Id="rId8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CAD085-E8A6-8845-BD4E-CB4CCA059FC4}" type="datetimeFigureOut">
              <a:rPr lang="en-US" smtClean="0"/>
              <a:t>4/29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9977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2753E9D-3C4B-7AE3-2DA2-A88D69193A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36706162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2" imgW="532" imgH="533" progId="TCLayout.ActiveDocument.1">
                  <p:embed/>
                </p:oleObj>
              </mc:Choice>
              <mc:Fallback>
                <p:oleObj name="think-cell Folie" r:id="rId32" imgW="532" imgH="53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753E9D-3C4B-7AE3-2DA2-A88D69193A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635FA2F-196F-B7E9-F8E7-BA2662EB250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60000" y="512764"/>
            <a:ext cx="8424000" cy="8863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141CCA2-64AC-011A-6E48-D7BAE381437D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60000" y="1808163"/>
            <a:ext cx="8424000" cy="410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A303A87-3372-7C52-3A6E-92D7BAAC45F2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7487999" y="6526213"/>
            <a:ext cx="891000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lvl1pPr algn="r">
              <a:defRPr sz="675" b="0">
                <a:solidFill>
                  <a:schemeClr val="tx1"/>
                </a:solidFill>
              </a:defRPr>
            </a:lvl1pPr>
          </a:lstStyle>
          <a:p>
            <a:fld id="{700C12BE-8C81-4D8D-A1B7-9ADBB1CA9A8C}" type="datetime1">
              <a:rPr lang="de-DE" smtClean="0"/>
              <a:t>29.04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E57ADF3-BF8D-274D-175D-117F148AB0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60000" y="6526213"/>
            <a:ext cx="4077000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lvl1pPr algn="l">
              <a:defRPr sz="675" b="0">
                <a:solidFill>
                  <a:schemeClr val="tx1"/>
                </a:solidFill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F28E599-8D88-7F1F-581D-9EE50A461F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8514000" y="6526213"/>
            <a:ext cx="270001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lvl1pPr algn="r">
              <a:defRPr sz="675" b="1">
                <a:solidFill>
                  <a:schemeClr val="tx1"/>
                </a:solidFill>
              </a:defRPr>
            </a:lvl1pPr>
          </a:lstStyle>
          <a:p>
            <a:fld id="{01FFFE70-FC19-4A94-9D10-0B3C8E890CB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empower - DO NOT DELETE!!!" hidden="1">
            <a:extLst>
              <a:ext uri="{FF2B5EF4-FFF2-40B4-BE49-F238E27FC236}">
                <a16:creationId xmlns:a16="http://schemas.microsoft.com/office/drawing/2014/main" id="{CD89FD70-3824-0C4D-517B-1E78167FED4E}"/>
              </a:ext>
            </a:extLst>
          </p:cNvPr>
          <p:cNvSpPr/>
          <p:nvPr userDrawn="1">
            <p:custDataLst>
              <p:tags r:id="rId31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lvl="0" algn="ctr" defTabSz="405000">
              <a:lnSpc>
                <a:spcPct val="120000"/>
              </a:lnSpc>
              <a:spcAft>
                <a:spcPts val="300"/>
              </a:spcAft>
            </a:pPr>
            <a:endParaRPr lang="de-DE" sz="1050"/>
          </a:p>
        </p:txBody>
      </p:sp>
    </p:spTree>
    <p:extLst>
      <p:ext uri="{BB962C8B-B14F-4D97-AF65-F5344CB8AC3E}">
        <p14:creationId xmlns:p14="http://schemas.microsoft.com/office/powerpoint/2010/main" val="1380313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</p:sldLayoutIdLst>
  <p:hf hdr="0" ftr="0" dt="0"/>
  <p:txStyles>
    <p:titleStyle>
      <a:lvl1pPr algn="l" defTabSz="4050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405000" rtl="0" eaLnBrk="1" latinLnBrk="0" hangingPunct="1">
        <a:lnSpc>
          <a:spcPct val="12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35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62000" indent="-162000" algn="l" defTabSz="405000" rtl="0" eaLnBrk="1" latinLnBrk="0" hangingPunct="1">
        <a:lnSpc>
          <a:spcPct val="12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324000" indent="-162000" algn="l" defTabSz="405000" rtl="0" eaLnBrk="1" latinLnBrk="0" hangingPunct="1">
        <a:lnSpc>
          <a:spcPct val="120000"/>
        </a:lnSpc>
        <a:spcBef>
          <a:spcPts val="0"/>
        </a:spcBef>
        <a:spcAft>
          <a:spcPts val="300"/>
        </a:spcAft>
        <a:buFont typeface="EON Brix Sans" panose="020B0500000000000000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486000" indent="-162000" algn="l" defTabSz="405000" rtl="0" eaLnBrk="1" latinLnBrk="0" hangingPunct="1">
        <a:lnSpc>
          <a:spcPct val="120000"/>
        </a:lnSpc>
        <a:spcBef>
          <a:spcPts val="0"/>
        </a:spcBef>
        <a:spcAft>
          <a:spcPts val="300"/>
        </a:spcAft>
        <a:buFont typeface="EON Brix Sans" panose="020B0500000000000000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162000" algn="l" defTabSz="405000" rtl="0" eaLnBrk="1" latinLnBrk="0" hangingPunct="1">
        <a:lnSpc>
          <a:spcPct val="120000"/>
        </a:lnSpc>
        <a:spcBef>
          <a:spcPts val="0"/>
        </a:spcBef>
        <a:spcAft>
          <a:spcPts val="300"/>
        </a:spcAft>
        <a:buFont typeface="EON Brix Sans" panose="020B0500000000000000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809625" indent="-161925" algn="l" defTabSz="405000" rtl="0" eaLnBrk="1" latinLnBrk="0" hangingPunct="1">
        <a:lnSpc>
          <a:spcPct val="120000"/>
        </a:lnSpc>
        <a:spcBef>
          <a:spcPts val="0"/>
        </a:spcBef>
        <a:spcAft>
          <a:spcPts val="300"/>
        </a:spcAft>
        <a:buFont typeface="EON Brix Sans" panose="020B0500000000000000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976313" indent="-161925" algn="l" defTabSz="405000" rtl="0" eaLnBrk="1" latinLnBrk="0" hangingPunct="1">
        <a:lnSpc>
          <a:spcPct val="120000"/>
        </a:lnSpc>
        <a:spcBef>
          <a:spcPts val="0"/>
        </a:spcBef>
        <a:spcAft>
          <a:spcPts val="300"/>
        </a:spcAft>
        <a:buFont typeface="EON Brix Sans" panose="020B0500000000000000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1143000" indent="-161925" algn="l" defTabSz="405000" rtl="0" eaLnBrk="1" latinLnBrk="0" hangingPunct="1">
        <a:lnSpc>
          <a:spcPct val="120000"/>
        </a:lnSpc>
        <a:spcBef>
          <a:spcPts val="0"/>
        </a:spcBef>
        <a:spcAft>
          <a:spcPts val="300"/>
        </a:spcAft>
        <a:buFont typeface="EON Brix Sans" panose="020B0500000000000000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1300163" indent="-161925" algn="l" defTabSz="405000" rtl="0" eaLnBrk="1" latinLnBrk="0" hangingPunct="1">
        <a:lnSpc>
          <a:spcPct val="120000"/>
        </a:lnSpc>
        <a:spcBef>
          <a:spcPts val="0"/>
        </a:spcBef>
        <a:spcAft>
          <a:spcPts val="300"/>
        </a:spcAft>
        <a:buFont typeface="EON Brix Sans" panose="020B0500000000000000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02">
          <p15:clr>
            <a:srgbClr val="F26B43"/>
          </p15:clr>
        </p15:guide>
        <p15:guide id="3" pos="7378">
          <p15:clr>
            <a:srgbClr val="F26B43"/>
          </p15:clr>
        </p15:guide>
        <p15:guide id="4" orient="horz" pos="323">
          <p15:clr>
            <a:srgbClr val="F26B43"/>
          </p15:clr>
        </p15:guide>
        <p15:guide id="8" orient="horz" pos="399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7" Type="http://schemas.openxmlformats.org/officeDocument/2006/relationships/hyperlink" Target="https://www.youtube.com/watch?v=S15HBX6-hBs" TargetMode="Externa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2.sv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45.xml"/><Relationship Id="rId6" Type="http://schemas.openxmlformats.org/officeDocument/2006/relationships/image" Target="../media/image11.png"/><Relationship Id="rId5" Type="http://schemas.openxmlformats.org/officeDocument/2006/relationships/image" Target="../media/image10.jpeg"/><Relationship Id="rId4" Type="http://schemas.openxmlformats.org/officeDocument/2006/relationships/image" Target="../media/image1.emf"/><Relationship Id="rId9" Type="http://schemas.openxmlformats.org/officeDocument/2006/relationships/image" Target="../media/image14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2.sv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46.xml"/><Relationship Id="rId6" Type="http://schemas.openxmlformats.org/officeDocument/2006/relationships/image" Target="../media/image11.png"/><Relationship Id="rId11" Type="http://schemas.openxmlformats.org/officeDocument/2006/relationships/image" Target="../media/image17.svg"/><Relationship Id="rId5" Type="http://schemas.openxmlformats.org/officeDocument/2006/relationships/image" Target="../media/image15.jpeg"/><Relationship Id="rId10" Type="http://schemas.openxmlformats.org/officeDocument/2006/relationships/image" Target="../media/image16.png"/><Relationship Id="rId4" Type="http://schemas.openxmlformats.org/officeDocument/2006/relationships/image" Target="../media/image1.emf"/><Relationship Id="rId9" Type="http://schemas.openxmlformats.org/officeDocument/2006/relationships/image" Target="../media/image14.sv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12.sv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47.xml"/><Relationship Id="rId6" Type="http://schemas.openxmlformats.org/officeDocument/2006/relationships/image" Target="../media/image11.png"/><Relationship Id="rId11" Type="http://schemas.openxmlformats.org/officeDocument/2006/relationships/image" Target="../media/image17.svg"/><Relationship Id="rId5" Type="http://schemas.openxmlformats.org/officeDocument/2006/relationships/image" Target="../media/image18.jpeg"/><Relationship Id="rId10" Type="http://schemas.openxmlformats.org/officeDocument/2006/relationships/image" Target="../media/image16.png"/><Relationship Id="rId4" Type="http://schemas.openxmlformats.org/officeDocument/2006/relationships/image" Target="../media/image1.emf"/><Relationship Id="rId9" Type="http://schemas.openxmlformats.org/officeDocument/2006/relationships/image" Target="../media/image14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virtualshowroom3d.it/360mercurio/" TargetMode="External"/><Relationship Id="rId3" Type="http://schemas.openxmlformats.org/officeDocument/2006/relationships/oleObject" Target="../embeddings/oleObject4.bin"/><Relationship Id="rId7" Type="http://schemas.openxmlformats.org/officeDocument/2006/relationships/hyperlink" Target="https://www.e-on.si/en/about-us/our-solutions.html" TargetMode="External"/><Relationship Id="rId12" Type="http://schemas.openxmlformats.org/officeDocument/2006/relationships/image" Target="../media/image24.sv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48.xml"/><Relationship Id="rId6" Type="http://schemas.openxmlformats.org/officeDocument/2006/relationships/image" Target="../media/image20.jpeg"/><Relationship Id="rId11" Type="http://schemas.openxmlformats.org/officeDocument/2006/relationships/image" Target="../media/image23.png"/><Relationship Id="rId5" Type="http://schemas.openxmlformats.org/officeDocument/2006/relationships/image" Target="../media/image19.jpeg"/><Relationship Id="rId10" Type="http://schemas.openxmlformats.org/officeDocument/2006/relationships/image" Target="../media/image22.svg"/><Relationship Id="rId4" Type="http://schemas.openxmlformats.org/officeDocument/2006/relationships/image" Target="../media/image1.emf"/><Relationship Id="rId9" Type="http://schemas.openxmlformats.org/officeDocument/2006/relationships/image" Target="../media/image2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49.xml"/><Relationship Id="rId6" Type="http://schemas.openxmlformats.org/officeDocument/2006/relationships/image" Target="../media/image26.jpeg"/><Relationship Id="rId5" Type="http://schemas.openxmlformats.org/officeDocument/2006/relationships/image" Target="../media/image25.jpe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youtube.com/watch?v=rBOI0q4PIoo" TargetMode="Externa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video" Target="../media/media1.mov"/><Relationship Id="rId1" Type="http://schemas.microsoft.com/office/2007/relationships/media" Target="../media/media1.mov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hyperlink" Target="https://www.youtube.com/watch?v=9FOJxdAJIns" TargetMode="Externa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7" Type="http://schemas.openxmlformats.org/officeDocument/2006/relationships/hyperlink" Target="https://www.youtube.com/watch?v=UJ8XW9AgUrw" TargetMode="Externa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6F5A5072-7B47-4D32-B52A-4EBBF590B8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15DAF0-AE1B-46C9-8A6B-DB2AA05AB9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-1" y="-22693"/>
            <a:ext cx="9143998" cy="4374129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rgbClr val="000000"/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016219D-510E-4184-9090-6D5578A87B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2384720" y="-2407841"/>
            <a:ext cx="4374557" cy="9144000"/>
          </a:xfrm>
          <a:prstGeom prst="rect">
            <a:avLst/>
          </a:prstGeom>
          <a:gradFill>
            <a:gsLst>
              <a:gs pos="40000">
                <a:schemeClr val="accent1">
                  <a:alpha val="0"/>
                </a:schemeClr>
              </a:gs>
              <a:gs pos="100000">
                <a:schemeClr val="accent1">
                  <a:lumMod val="75000"/>
                  <a:alpha val="52000"/>
                </a:scheme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FF4A713-7B75-4B21-90D7-5AB19547C7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2555756" y="-2236808"/>
            <a:ext cx="4374128" cy="8802359"/>
          </a:xfrm>
          <a:prstGeom prst="rect">
            <a:avLst/>
          </a:prstGeom>
          <a:gradFill>
            <a:gsLst>
              <a:gs pos="17000">
                <a:schemeClr val="accent1">
                  <a:alpha val="0"/>
                </a:schemeClr>
              </a:gs>
              <a:gs pos="100000">
                <a:srgbClr val="000000">
                  <a:alpha val="37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C631C0B-6DA6-4E57-8231-CE32B3434A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3" y="-22690"/>
            <a:ext cx="6406863" cy="4374126"/>
          </a:xfrm>
          <a:prstGeom prst="rect">
            <a:avLst/>
          </a:prstGeom>
          <a:gradFill>
            <a:gsLst>
              <a:gs pos="0">
                <a:schemeClr val="accent1">
                  <a:lumMod val="50000"/>
                  <a:alpha val="0"/>
                </a:schemeClr>
              </a:gs>
              <a:gs pos="100000">
                <a:srgbClr val="000000">
                  <a:alpha val="25000"/>
                </a:srgb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C29501E6-A978-4A61-9689-9085AF97A5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2508972">
            <a:off x="4459073" y="-1032053"/>
            <a:ext cx="3742610" cy="4439131"/>
          </a:xfrm>
          <a:custGeom>
            <a:avLst/>
            <a:gdLst>
              <a:gd name="connsiteX0" fmla="*/ 4990147 w 4990147"/>
              <a:gd name="connsiteY0" fmla="*/ 2229378 h 4439131"/>
              <a:gd name="connsiteX1" fmla="*/ 917384 w 4990147"/>
              <a:gd name="connsiteY1" fmla="*/ 4439131 h 4439131"/>
              <a:gd name="connsiteX2" fmla="*/ 910814 w 4990147"/>
              <a:gd name="connsiteY2" fmla="*/ 4434219 h 4439131"/>
              <a:gd name="connsiteX3" fmla="*/ 0 w 4990147"/>
              <a:gd name="connsiteY3" fmla="*/ 2502877 h 4439131"/>
              <a:gd name="connsiteX4" fmla="*/ 2502877 w 4990147"/>
              <a:gd name="connsiteY4" fmla="*/ 0 h 4439131"/>
              <a:gd name="connsiteX5" fmla="*/ 4954904 w 4990147"/>
              <a:gd name="connsiteY5" fmla="*/ 1998460 h 4439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90147" h="4439131">
                <a:moveTo>
                  <a:pt x="4990147" y="2229378"/>
                </a:moveTo>
                <a:lnTo>
                  <a:pt x="917384" y="4439131"/>
                </a:lnTo>
                <a:lnTo>
                  <a:pt x="910814" y="4434219"/>
                </a:lnTo>
                <a:cubicBezTo>
                  <a:pt x="354557" y="3975154"/>
                  <a:pt x="0" y="3280421"/>
                  <a:pt x="0" y="2502877"/>
                </a:cubicBezTo>
                <a:cubicBezTo>
                  <a:pt x="0" y="1120576"/>
                  <a:pt x="1120576" y="0"/>
                  <a:pt x="2502877" y="0"/>
                </a:cubicBezTo>
                <a:cubicBezTo>
                  <a:pt x="3712390" y="0"/>
                  <a:pt x="4721520" y="857941"/>
                  <a:pt x="4954904" y="1998460"/>
                </a:cubicBezTo>
                <a:close/>
              </a:path>
            </a:pathLst>
          </a:custGeom>
          <a:gradFill>
            <a:gsLst>
              <a:gs pos="0">
                <a:schemeClr val="accent1">
                  <a:alpha val="22000"/>
                </a:schemeClr>
              </a:gs>
              <a:gs pos="87000">
                <a:schemeClr val="accent1">
                  <a:lumMod val="60000"/>
                  <a:lumOff val="40000"/>
                  <a:alpha val="2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6118" y="735106"/>
            <a:ext cx="7540322" cy="2928470"/>
          </a:xfrm>
        </p:spPr>
        <p:txBody>
          <a:bodyPr anchor="b">
            <a:normAutofit/>
          </a:bodyPr>
          <a:lstStyle/>
          <a:p>
            <a:pPr algn="l"/>
            <a:r>
              <a:rPr lang="hr-HR" sz="4200" dirty="0">
                <a:solidFill>
                  <a:srgbClr val="FFFFFF"/>
                </a:solidFill>
              </a:rPr>
              <a:t>Kako radi solarna elektrana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13011" y="4870824"/>
            <a:ext cx="7504463" cy="1458258"/>
          </a:xfrm>
        </p:spPr>
        <p:txBody>
          <a:bodyPr anchor="ctr">
            <a:normAutofit/>
          </a:bodyPr>
          <a:lstStyle/>
          <a:p>
            <a:pPr lvl="1" algn="r"/>
            <a:r>
              <a:rPr lang="hr-HR" sz="1600" b="1" dirty="0">
                <a:solidFill>
                  <a:srgbClr val="0075C2"/>
                </a:solidFill>
              </a:rPr>
              <a:t>OŠ Antuna Augustinčića </a:t>
            </a:r>
          </a:p>
          <a:p>
            <a:pPr lvl="1" algn="r"/>
            <a:r>
              <a:rPr lang="hr-HR" sz="1600" b="1" dirty="0">
                <a:solidFill>
                  <a:srgbClr val="0075C2"/>
                </a:solidFill>
              </a:rPr>
              <a:t>Zaprešić, 29.04.2025</a:t>
            </a:r>
            <a:endParaRPr lang="hr-HR" b="1" dirty="0">
              <a:solidFill>
                <a:srgbClr val="0075C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4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4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BACC6370-2D7E-4714-9D71-7542949D7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68B3F68-107C-434F-AA38-110D5EA91B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" y="0"/>
            <a:ext cx="9143999" cy="1575955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AD0DBB9-1A4B-4391-81D4-CB19F9AB91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6096642" y="0"/>
            <a:ext cx="3047358" cy="1576412"/>
          </a:xfrm>
          <a:prstGeom prst="rect">
            <a:avLst/>
          </a:prstGeom>
          <a:gradFill>
            <a:gsLst>
              <a:gs pos="19000">
                <a:schemeClr val="accent1">
                  <a:lumMod val="50000"/>
                  <a:alpha val="68000"/>
                </a:schemeClr>
              </a:gs>
              <a:gs pos="100000">
                <a:schemeClr val="accent1">
                  <a:alpha val="79000"/>
                </a:schemeClr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63BBA22-50EA-4C4D-BE05-F1CE4E63AA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3783777" y="-3783778"/>
            <a:ext cx="1576446" cy="9144002"/>
          </a:xfrm>
          <a:prstGeom prst="rect">
            <a:avLst/>
          </a:prstGeom>
          <a:gradFill>
            <a:gsLst>
              <a:gs pos="23000">
                <a:schemeClr val="accent1">
                  <a:alpha val="0"/>
                </a:schemeClr>
              </a:gs>
              <a:gs pos="99000">
                <a:srgbClr val="000000">
                  <a:alpha val="74000"/>
                </a:srgbClr>
              </a:gs>
            </a:gsLst>
            <a:lin ang="20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8697" y="348865"/>
            <a:ext cx="7533018" cy="877729"/>
          </a:xfrm>
        </p:spPr>
        <p:txBody>
          <a:bodyPr anchor="ctr">
            <a:normAutofit/>
          </a:bodyPr>
          <a:lstStyle/>
          <a:p>
            <a:r>
              <a:rPr lang="hr-HR" sz="3500">
                <a:solidFill>
                  <a:srgbClr val="FFFFFF"/>
                </a:solidFill>
              </a:rPr>
              <a:t>Zaključak</a:t>
            </a:r>
          </a:p>
        </p:txBody>
      </p:sp>
      <p:graphicFrame>
        <p:nvGraphicFramePr>
          <p:cNvPr id="21" name="Content Placeholder 2">
            <a:extLst>
              <a:ext uri="{FF2B5EF4-FFF2-40B4-BE49-F238E27FC236}">
                <a16:creationId xmlns:a16="http://schemas.microsoft.com/office/drawing/2014/main" id="{0B8447E4-5F17-23B1-4F5C-BB1173EC55D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95287523"/>
              </p:ext>
            </p:extLst>
          </p:nvPr>
        </p:nvGraphicFramePr>
        <p:xfrm>
          <a:off x="483042" y="2112579"/>
          <a:ext cx="8195871" cy="41928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1D9BAA8B-6BBE-8AC1-C29C-C925938BC786}"/>
              </a:ext>
            </a:extLst>
          </p:cNvPr>
          <p:cNvSpPr txBox="1"/>
          <p:nvPr/>
        </p:nvSpPr>
        <p:spPr>
          <a:xfrm>
            <a:off x="2286000" y="5830922"/>
            <a:ext cx="4572000" cy="4288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hr-HR" sz="2000" u="sng" kern="100" dirty="0">
                <a:solidFill>
                  <a:srgbClr val="467886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  <a:hlinkClick r:id="rId7"/>
              </a:rPr>
              <a:t>Zadovoljni s solarnom elektranom?</a:t>
            </a:r>
            <a:endParaRPr lang="hr-HR" sz="2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6DC5FF1-0A48-A41C-72FE-B06D7B32F5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6" progId="TCLayout.ActiveDocument.1">
                  <p:embed/>
                </p:oleObj>
              </mc:Choice>
              <mc:Fallback>
                <p:oleObj name="think-cell Folie" r:id="rId3" imgW="425" imgH="42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DC5FF1-0A48-A41C-72FE-B06D7B32F5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34F90A1-8AA8-7650-B9F6-11DE9A21B0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01FFFE70-FC19-4A94-9D10-0B3C8E890CB2}" type="slidenum">
              <a:rPr lang="de-DE">
                <a:solidFill>
                  <a:srgbClr val="1A1A1A"/>
                </a:solidFill>
                <a:latin typeface="EON Brix Sans"/>
              </a:rPr>
              <a:pPr defTabSz="685800"/>
              <a:t>11</a:t>
            </a:fld>
            <a:endParaRPr lang="de-DE">
              <a:solidFill>
                <a:srgbClr val="1A1A1A"/>
              </a:solidFill>
              <a:latin typeface="EON Brix Sans"/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3F9CC2F-C649-8416-711F-6884E0083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363" y="565962"/>
            <a:ext cx="2049246" cy="811410"/>
          </a:xfrm>
        </p:spPr>
        <p:txBody>
          <a:bodyPr vert="horz"/>
          <a:lstStyle/>
          <a:p>
            <a:br>
              <a:rPr lang="hr-HR" dirty="0"/>
            </a:br>
            <a:r>
              <a:rPr lang="hr-HR" sz="3200" b="1" dirty="0">
                <a:solidFill>
                  <a:srgbClr val="0075C2"/>
                </a:solidFill>
              </a:rPr>
              <a:t>Pliva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3920D8B-92F8-09E2-524A-FB0176055CEA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18" r="17254"/>
          <a:stretch/>
        </p:blipFill>
        <p:spPr>
          <a:xfrm>
            <a:off x="3140765" y="857250"/>
            <a:ext cx="6003235" cy="5672348"/>
          </a:xfrm>
          <a:prstGeom prst="rect">
            <a:avLst/>
          </a:prstGeom>
        </p:spPr>
      </p:pic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7D51111D-9738-4FAB-B99F-739197D73FB8}"/>
              </a:ext>
            </a:extLst>
          </p:cNvPr>
          <p:cNvSpPr/>
          <p:nvPr/>
        </p:nvSpPr>
        <p:spPr>
          <a:xfrm>
            <a:off x="137364" y="2213371"/>
            <a:ext cx="2888025" cy="1006078"/>
          </a:xfrm>
          <a:prstGeom prst="roundRect">
            <a:avLst/>
          </a:prstGeom>
          <a:solidFill>
            <a:srgbClr val="F0EB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5000" tIns="54000" rIns="54000" bIns="54000" rtlCol="0" anchor="ctr"/>
          <a:lstStyle/>
          <a:p>
            <a:pPr defTabSz="405000">
              <a:lnSpc>
                <a:spcPct val="120000"/>
              </a:lnSpc>
              <a:spcAft>
                <a:spcPts val="300"/>
              </a:spcAft>
            </a:pPr>
            <a:r>
              <a:rPr lang="hr-HR" sz="1500" b="1" dirty="0">
                <a:solidFill>
                  <a:srgbClr val="1A1A1A"/>
                </a:solidFill>
                <a:latin typeface="EON Brix Sans"/>
              </a:rPr>
              <a:t>Savski Marof,</a:t>
            </a:r>
          </a:p>
          <a:p>
            <a:pPr defTabSz="405000">
              <a:lnSpc>
                <a:spcPct val="120000"/>
              </a:lnSpc>
              <a:spcAft>
                <a:spcPts val="300"/>
              </a:spcAft>
            </a:pPr>
            <a:r>
              <a:rPr lang="hr-HR" sz="1500" b="1" dirty="0">
                <a:solidFill>
                  <a:srgbClr val="1A1A1A"/>
                </a:solidFill>
                <a:latin typeface="EON Brix Sans"/>
              </a:rPr>
              <a:t>Hrvatska</a:t>
            </a:r>
          </a:p>
        </p:txBody>
      </p:sp>
      <p:pic>
        <p:nvPicPr>
          <p:cNvPr id="13" name="Grafik 12" descr="Markierung mit einfarbiger Füllung">
            <a:extLst>
              <a:ext uri="{FF2B5EF4-FFF2-40B4-BE49-F238E27FC236}">
                <a16:creationId xmlns:a16="http://schemas.microsoft.com/office/drawing/2014/main" id="{FADACDEB-9C4F-DB5B-9510-CC6ECEF041A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07625" y="2373511"/>
            <a:ext cx="685800" cy="685800"/>
          </a:xfrm>
          <a:prstGeom prst="rect">
            <a:avLst/>
          </a:prstGeom>
        </p:spPr>
      </p:pic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ED760B17-3FC9-4C26-3095-5AE641C270F8}"/>
              </a:ext>
            </a:extLst>
          </p:cNvPr>
          <p:cNvSpPr/>
          <p:nvPr/>
        </p:nvSpPr>
        <p:spPr>
          <a:xfrm>
            <a:off x="137363" y="3285337"/>
            <a:ext cx="2888025" cy="1006078"/>
          </a:xfrm>
          <a:prstGeom prst="roundRect">
            <a:avLst/>
          </a:prstGeom>
          <a:solidFill>
            <a:srgbClr val="F0EB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5000" tIns="54000" rIns="54000" bIns="54000" rtlCol="0" anchor="ctr"/>
          <a:lstStyle/>
          <a:p>
            <a:pPr defTabSz="405000">
              <a:lnSpc>
                <a:spcPct val="120000"/>
              </a:lnSpc>
              <a:spcAft>
                <a:spcPts val="300"/>
              </a:spcAft>
            </a:pPr>
            <a:r>
              <a:rPr lang="hr-HR" sz="1500" b="1" dirty="0">
                <a:solidFill>
                  <a:srgbClr val="1A1A1A"/>
                </a:solidFill>
                <a:latin typeface="EON Brix Sans"/>
              </a:rPr>
              <a:t>9.7 MWp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3BE18061-7C1C-2066-D548-0ED1C98B786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407194" y="3539727"/>
            <a:ext cx="6858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6744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6DC5FF1-0A48-A41C-72FE-B06D7B32F5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6" progId="TCLayout.ActiveDocument.1">
                  <p:embed/>
                </p:oleObj>
              </mc:Choice>
              <mc:Fallback>
                <p:oleObj name="think-cell Folie" r:id="rId3" imgW="425" imgH="42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DC5FF1-0A48-A41C-72FE-B06D7B32F5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34F90A1-8AA8-7650-B9F6-11DE9A21B0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01FFFE70-FC19-4A94-9D10-0B3C8E890CB2}" type="slidenum">
              <a:rPr lang="de-DE">
                <a:solidFill>
                  <a:srgbClr val="1A1A1A"/>
                </a:solidFill>
                <a:latin typeface="EON Brix Sans"/>
              </a:rPr>
              <a:pPr defTabSz="685800"/>
              <a:t>12</a:t>
            </a:fld>
            <a:endParaRPr lang="de-DE">
              <a:solidFill>
                <a:srgbClr val="1A1A1A"/>
              </a:solidFill>
              <a:latin typeface="EON Brix Sans"/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3F9CC2F-C649-8416-711F-6884E0083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194" y="834684"/>
            <a:ext cx="3183300" cy="664798"/>
          </a:xfrm>
        </p:spPr>
        <p:txBody>
          <a:bodyPr vert="horz"/>
          <a:lstStyle/>
          <a:p>
            <a:br>
              <a:rPr lang="hr-HR" dirty="0"/>
            </a:br>
            <a:r>
              <a:rPr lang="hr-HR" b="1" dirty="0">
                <a:solidFill>
                  <a:srgbClr val="0075C2"/>
                </a:solidFill>
              </a:rPr>
              <a:t>Bauhaus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3920D8B-92F8-09E2-524A-FB0176055CEA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823" t="25079" r="16327" b="9582"/>
          <a:stretch/>
        </p:blipFill>
        <p:spPr>
          <a:xfrm>
            <a:off x="3700462" y="857250"/>
            <a:ext cx="5443538" cy="5143500"/>
          </a:xfrm>
          <a:prstGeom prst="rect">
            <a:avLst/>
          </a:prstGeom>
        </p:spPr>
      </p:pic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7D51111D-9738-4FAB-B99F-739197D73FB8}"/>
              </a:ext>
            </a:extLst>
          </p:cNvPr>
          <p:cNvSpPr/>
          <p:nvPr/>
        </p:nvSpPr>
        <p:spPr>
          <a:xfrm>
            <a:off x="360000" y="2213373"/>
            <a:ext cx="2888025" cy="1006078"/>
          </a:xfrm>
          <a:prstGeom prst="roundRect">
            <a:avLst/>
          </a:prstGeom>
          <a:solidFill>
            <a:srgbClr val="F0EB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5000" tIns="54000" rIns="54000" bIns="54000" rtlCol="0" anchor="ctr"/>
          <a:lstStyle/>
          <a:p>
            <a:pPr defTabSz="405000">
              <a:lnSpc>
                <a:spcPct val="120000"/>
              </a:lnSpc>
              <a:spcAft>
                <a:spcPts val="300"/>
              </a:spcAft>
            </a:pPr>
            <a:r>
              <a:rPr lang="hr-HR" sz="1500" b="1" dirty="0">
                <a:solidFill>
                  <a:srgbClr val="1A1A1A"/>
                </a:solidFill>
                <a:latin typeface="EON Brix Sans"/>
              </a:rPr>
              <a:t>Zadar</a:t>
            </a:r>
            <a:endParaRPr lang="en-US" sz="1500" b="1" dirty="0">
              <a:solidFill>
                <a:srgbClr val="1A1A1A"/>
              </a:solidFill>
              <a:latin typeface="EON Brix Sans"/>
            </a:endParaRPr>
          </a:p>
        </p:txBody>
      </p:sp>
      <p:pic>
        <p:nvPicPr>
          <p:cNvPr id="13" name="Grafik 12" descr="Markierung mit einfarbiger Füllung">
            <a:extLst>
              <a:ext uri="{FF2B5EF4-FFF2-40B4-BE49-F238E27FC236}">
                <a16:creationId xmlns:a16="http://schemas.microsoft.com/office/drawing/2014/main" id="{FADACDEB-9C4F-DB5B-9510-CC6ECEF041A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07625" y="2373511"/>
            <a:ext cx="685800" cy="685800"/>
          </a:xfrm>
          <a:prstGeom prst="rect">
            <a:avLst/>
          </a:prstGeom>
        </p:spPr>
      </p:pic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ED760B17-3FC9-4C26-3095-5AE641C270F8}"/>
              </a:ext>
            </a:extLst>
          </p:cNvPr>
          <p:cNvSpPr/>
          <p:nvPr/>
        </p:nvSpPr>
        <p:spPr>
          <a:xfrm>
            <a:off x="359569" y="3379589"/>
            <a:ext cx="2888025" cy="1006078"/>
          </a:xfrm>
          <a:prstGeom prst="roundRect">
            <a:avLst/>
          </a:prstGeom>
          <a:solidFill>
            <a:srgbClr val="F0EB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5000" tIns="54000" rIns="54000" bIns="54000" rtlCol="0" anchor="ctr"/>
          <a:lstStyle/>
          <a:p>
            <a:pPr defTabSz="405000">
              <a:lnSpc>
                <a:spcPct val="120000"/>
              </a:lnSpc>
              <a:spcAft>
                <a:spcPts val="300"/>
              </a:spcAft>
            </a:pPr>
            <a:r>
              <a:rPr lang="hr-HR" sz="1500" b="1" dirty="0">
                <a:solidFill>
                  <a:srgbClr val="1A1A1A"/>
                </a:solidFill>
                <a:latin typeface="EON Brix Sans"/>
              </a:rPr>
              <a:t>585 </a:t>
            </a:r>
            <a:r>
              <a:rPr lang="hr-HR" sz="1500" b="1" dirty="0" err="1">
                <a:solidFill>
                  <a:srgbClr val="1A1A1A"/>
                </a:solidFill>
                <a:latin typeface="EON Brix Sans"/>
              </a:rPr>
              <a:t>kWp</a:t>
            </a:r>
            <a:endParaRPr lang="hr-HR" sz="1500" b="1" dirty="0">
              <a:solidFill>
                <a:srgbClr val="1A1A1A"/>
              </a:solidFill>
              <a:latin typeface="EON Brix Sans"/>
            </a:endParaRP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3BE18061-7C1C-2066-D548-0ED1C98B786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407194" y="3539727"/>
            <a:ext cx="685800" cy="685800"/>
          </a:xfrm>
          <a:prstGeom prst="rect">
            <a:avLst/>
          </a:prstGeom>
        </p:spPr>
      </p:pic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F5315CD6-0B6E-221C-11BA-7C03FFF507BB}"/>
              </a:ext>
            </a:extLst>
          </p:cNvPr>
          <p:cNvSpPr/>
          <p:nvPr/>
        </p:nvSpPr>
        <p:spPr>
          <a:xfrm>
            <a:off x="359569" y="4545805"/>
            <a:ext cx="2888025" cy="1006078"/>
          </a:xfrm>
          <a:prstGeom prst="roundRect">
            <a:avLst/>
          </a:prstGeom>
          <a:solidFill>
            <a:srgbClr val="F0EB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5000" tIns="54000" rIns="54000" bIns="54000" rtlCol="0" anchor="ctr"/>
          <a:lstStyle/>
          <a:p>
            <a:pPr defTabSz="405000">
              <a:lnSpc>
                <a:spcPct val="120000"/>
              </a:lnSpc>
              <a:spcAft>
                <a:spcPts val="300"/>
              </a:spcAft>
            </a:pPr>
            <a:r>
              <a:rPr lang="hr-HR" sz="1500" b="1" dirty="0">
                <a:solidFill>
                  <a:srgbClr val="1A1A1A"/>
                </a:solidFill>
                <a:latin typeface="EON Brix Sans"/>
              </a:rPr>
              <a:t>Fleksibilni paneli</a:t>
            </a:r>
          </a:p>
          <a:p>
            <a:pPr defTabSz="405000">
              <a:lnSpc>
                <a:spcPct val="120000"/>
              </a:lnSpc>
              <a:spcAft>
                <a:spcPts val="300"/>
              </a:spcAft>
            </a:pPr>
            <a:r>
              <a:rPr lang="hr-HR" sz="1050" dirty="0">
                <a:solidFill>
                  <a:srgbClr val="1A1A1A"/>
                </a:solidFill>
                <a:latin typeface="EON Brix Sans"/>
              </a:rPr>
              <a:t>značajno smanjuju opterećenje na krovu kupca</a:t>
            </a: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6DAA47F7-C29D-7949-D8CC-8370818A89F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407194" y="4705943"/>
            <a:ext cx="6858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04749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6DC5FF1-0A48-A41C-72FE-B06D7B32F5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6" progId="TCLayout.ActiveDocument.1">
                  <p:embed/>
                </p:oleObj>
              </mc:Choice>
              <mc:Fallback>
                <p:oleObj name="think-cell Folie" r:id="rId3" imgW="425" imgH="42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DC5FF1-0A48-A41C-72FE-B06D7B32F5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34F90A1-8AA8-7650-B9F6-11DE9A21B0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01FFFE70-FC19-4A94-9D10-0B3C8E890CB2}" type="slidenum">
              <a:rPr lang="de-DE">
                <a:solidFill>
                  <a:srgbClr val="1A1A1A"/>
                </a:solidFill>
                <a:latin typeface="EON Brix Sans"/>
              </a:rPr>
              <a:pPr defTabSz="685800"/>
              <a:t>13</a:t>
            </a:fld>
            <a:endParaRPr lang="de-DE">
              <a:solidFill>
                <a:srgbClr val="1A1A1A"/>
              </a:solidFill>
              <a:latin typeface="EON Brix Sans"/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3F9CC2F-C649-8416-711F-6884E0083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1241823"/>
            <a:ext cx="3183300" cy="664798"/>
          </a:xfrm>
        </p:spPr>
        <p:txBody>
          <a:bodyPr vert="horz"/>
          <a:lstStyle/>
          <a:p>
            <a:br>
              <a:rPr lang="hr-HR" dirty="0"/>
            </a:br>
            <a:r>
              <a:rPr lang="hr-HR" b="1" dirty="0">
                <a:solidFill>
                  <a:srgbClr val="0075C2"/>
                </a:solidFill>
              </a:rPr>
              <a:t>Kolja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3920D8B-92F8-09E2-524A-FB0176055CEA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110" t="17729" r="11912"/>
          <a:stretch/>
        </p:blipFill>
        <p:spPr>
          <a:xfrm>
            <a:off x="3700462" y="857250"/>
            <a:ext cx="5443538" cy="5143500"/>
          </a:xfrm>
          <a:prstGeom prst="rect">
            <a:avLst/>
          </a:prstGeom>
        </p:spPr>
      </p:pic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7D51111D-9738-4FAB-B99F-739197D73FB8}"/>
              </a:ext>
            </a:extLst>
          </p:cNvPr>
          <p:cNvSpPr/>
          <p:nvPr/>
        </p:nvSpPr>
        <p:spPr>
          <a:xfrm>
            <a:off x="360000" y="2213373"/>
            <a:ext cx="2888025" cy="1006078"/>
          </a:xfrm>
          <a:prstGeom prst="roundRect">
            <a:avLst/>
          </a:prstGeom>
          <a:solidFill>
            <a:srgbClr val="F0EB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5000" tIns="54000" rIns="54000" bIns="54000" rtlCol="0" anchor="ctr"/>
          <a:lstStyle/>
          <a:p>
            <a:pPr defTabSz="405000">
              <a:lnSpc>
                <a:spcPct val="120000"/>
              </a:lnSpc>
              <a:spcAft>
                <a:spcPts val="300"/>
              </a:spcAft>
            </a:pPr>
            <a:r>
              <a:rPr lang="hr-HR" sz="1500" b="1" dirty="0">
                <a:solidFill>
                  <a:srgbClr val="1A1A1A"/>
                </a:solidFill>
                <a:latin typeface="EON Brix Sans"/>
              </a:rPr>
              <a:t>Vrlika,</a:t>
            </a:r>
          </a:p>
          <a:p>
            <a:pPr defTabSz="405000">
              <a:lnSpc>
                <a:spcPct val="120000"/>
              </a:lnSpc>
              <a:spcAft>
                <a:spcPts val="300"/>
              </a:spcAft>
            </a:pPr>
            <a:r>
              <a:rPr lang="hr-HR" sz="1500" b="1" dirty="0">
                <a:solidFill>
                  <a:srgbClr val="1A1A1A"/>
                </a:solidFill>
                <a:latin typeface="EON Brix Sans"/>
              </a:rPr>
              <a:t>Hrvatska</a:t>
            </a:r>
          </a:p>
        </p:txBody>
      </p:sp>
      <p:pic>
        <p:nvPicPr>
          <p:cNvPr id="13" name="Grafik 12" descr="Markierung mit einfarbiger Füllung">
            <a:extLst>
              <a:ext uri="{FF2B5EF4-FFF2-40B4-BE49-F238E27FC236}">
                <a16:creationId xmlns:a16="http://schemas.microsoft.com/office/drawing/2014/main" id="{FADACDEB-9C4F-DB5B-9510-CC6ECEF041A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07625" y="2373511"/>
            <a:ext cx="685800" cy="685800"/>
          </a:xfrm>
          <a:prstGeom prst="rect">
            <a:avLst/>
          </a:prstGeom>
        </p:spPr>
      </p:pic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ED760B17-3FC9-4C26-3095-5AE641C270F8}"/>
              </a:ext>
            </a:extLst>
          </p:cNvPr>
          <p:cNvSpPr/>
          <p:nvPr/>
        </p:nvSpPr>
        <p:spPr>
          <a:xfrm>
            <a:off x="359569" y="3379589"/>
            <a:ext cx="2888025" cy="1006078"/>
          </a:xfrm>
          <a:prstGeom prst="roundRect">
            <a:avLst/>
          </a:prstGeom>
          <a:solidFill>
            <a:srgbClr val="F0EB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5000" tIns="54000" rIns="54000" bIns="54000" rtlCol="0" anchor="ctr"/>
          <a:lstStyle/>
          <a:p>
            <a:pPr defTabSz="405000">
              <a:lnSpc>
                <a:spcPct val="120000"/>
              </a:lnSpc>
              <a:spcAft>
                <a:spcPts val="300"/>
              </a:spcAft>
            </a:pPr>
            <a:r>
              <a:rPr lang="hr-HR" sz="1500" b="1" dirty="0">
                <a:solidFill>
                  <a:srgbClr val="1A1A1A"/>
                </a:solidFill>
                <a:latin typeface="EON Brix Sans"/>
              </a:rPr>
              <a:t>8.6 MWp</a:t>
            </a:r>
          </a:p>
          <a:p>
            <a:pPr defTabSz="405000">
              <a:lnSpc>
                <a:spcPct val="120000"/>
              </a:lnSpc>
              <a:spcAft>
                <a:spcPts val="300"/>
              </a:spcAft>
            </a:pPr>
            <a:r>
              <a:rPr lang="hr-HR" sz="1050" dirty="0">
                <a:solidFill>
                  <a:srgbClr val="1A1A1A"/>
                </a:solidFill>
                <a:latin typeface="EON Brix Sans"/>
              </a:rPr>
              <a:t>11.5 GWh  godišnja proizvodnja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3BE18061-7C1C-2066-D548-0ED1C98B786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407194" y="3539727"/>
            <a:ext cx="685800" cy="685800"/>
          </a:xfrm>
          <a:prstGeom prst="rect">
            <a:avLst/>
          </a:prstGeom>
        </p:spPr>
      </p:pic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F5315CD6-0B6E-221C-11BA-7C03FFF507BB}"/>
              </a:ext>
            </a:extLst>
          </p:cNvPr>
          <p:cNvSpPr/>
          <p:nvPr/>
        </p:nvSpPr>
        <p:spPr>
          <a:xfrm>
            <a:off x="359569" y="4545805"/>
            <a:ext cx="2888025" cy="1006078"/>
          </a:xfrm>
          <a:prstGeom prst="roundRect">
            <a:avLst/>
          </a:prstGeom>
          <a:solidFill>
            <a:srgbClr val="F0EB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5000" tIns="54000" rIns="54000" bIns="54000" rtlCol="0" anchor="ctr"/>
          <a:lstStyle/>
          <a:p>
            <a:pPr defTabSz="405000">
              <a:lnSpc>
                <a:spcPct val="120000"/>
              </a:lnSpc>
              <a:spcAft>
                <a:spcPts val="300"/>
              </a:spcAft>
            </a:pPr>
            <a:r>
              <a:rPr lang="hr-HR" sz="1500" b="1" dirty="0">
                <a:solidFill>
                  <a:srgbClr val="1A1A1A"/>
                </a:solidFill>
                <a:latin typeface="EON Brix Sans"/>
              </a:rPr>
              <a:t>Pokriva 13 hektara</a:t>
            </a: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6DAA47F7-C29D-7949-D8CC-8370818A89F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407194" y="4705943"/>
            <a:ext cx="6858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102639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61EC1CB-2A16-5091-20BB-6F0A3462E3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6" progId="TCLayout.ActiveDocument.1">
                  <p:embed/>
                </p:oleObj>
              </mc:Choice>
              <mc:Fallback>
                <p:oleObj name="think-cell Folie" r:id="rId3" imgW="425" imgH="42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1EC1CB-2A16-5091-20BB-6F0A3462E3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>
            <a:extLst>
              <a:ext uri="{FF2B5EF4-FFF2-40B4-BE49-F238E27FC236}">
                <a16:creationId xmlns:a16="http://schemas.microsoft.com/office/drawing/2014/main" id="{344D64E0-F36E-3FC9-8073-0C7872F3BB45}"/>
              </a:ext>
            </a:extLst>
          </p:cNvPr>
          <p:cNvSpPr>
            <a:spLocks/>
          </p:cNvSpPr>
          <p:nvPr/>
        </p:nvSpPr>
        <p:spPr>
          <a:xfrm>
            <a:off x="5736516" y="857250"/>
            <a:ext cx="3407485" cy="5408378"/>
          </a:xfrm>
          <a:prstGeom prst="rect">
            <a:avLst/>
          </a:prstGeom>
          <a:solidFill>
            <a:srgbClr val="F8F5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 defTabSz="405000">
              <a:lnSpc>
                <a:spcPct val="120000"/>
              </a:lnSpc>
              <a:spcAft>
                <a:spcPts val="300"/>
              </a:spcAft>
            </a:pPr>
            <a:endParaRPr lang="en-US" sz="1050">
              <a:solidFill>
                <a:srgbClr val="FFFFFF"/>
              </a:solidFill>
              <a:latin typeface="EON Brix Sans"/>
            </a:endParaRP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41A225A2-B474-7436-6D54-7A17DEF9D0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01FFFE70-FC19-4A94-9D10-0B3C8E890CB2}" type="slidenum">
              <a:rPr lang="de-DE">
                <a:solidFill>
                  <a:srgbClr val="1A1A1A"/>
                </a:solidFill>
                <a:latin typeface="EON Brix Sans"/>
              </a:rPr>
              <a:pPr defTabSz="685800"/>
              <a:t>14</a:t>
            </a:fld>
            <a:endParaRPr lang="de-DE">
              <a:solidFill>
                <a:srgbClr val="1A1A1A"/>
              </a:solidFill>
              <a:latin typeface="EON Brix Sans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413763AB-04A0-9FB1-87E2-F74751E127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solidFill>
                  <a:srgbClr val="0075C2"/>
                </a:solidFill>
              </a:rPr>
              <a:t>CHP Aquafil</a:t>
            </a:r>
            <a:br>
              <a:rPr lang="en-US" dirty="0">
                <a:solidFill>
                  <a:srgbClr val="0075C2"/>
                </a:solidFill>
              </a:rPr>
            </a:br>
            <a:r>
              <a:rPr lang="en-US" sz="1500" dirty="0">
                <a:solidFill>
                  <a:srgbClr val="0075C2"/>
                </a:solidFill>
              </a:rPr>
              <a:t>Ljubljana, Slovenija</a:t>
            </a:r>
            <a:endParaRPr lang="en-US" dirty="0">
              <a:solidFill>
                <a:srgbClr val="0075C2"/>
              </a:solidFill>
            </a:endParaRPr>
          </a:p>
        </p:txBody>
      </p:sp>
      <p:pic>
        <p:nvPicPr>
          <p:cNvPr id="15" name="Picture 8" descr="A blue and white building&#10;&#10;Description automatically generated">
            <a:extLst>
              <a:ext uri="{FF2B5EF4-FFF2-40B4-BE49-F238E27FC236}">
                <a16:creationId xmlns:a16="http://schemas.microsoft.com/office/drawing/2014/main" id="{A355822A-2D69-300F-4130-8150331AB89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4061" y="1244989"/>
            <a:ext cx="2425371" cy="1856142"/>
          </a:xfrm>
          <a:prstGeom prst="rect">
            <a:avLst/>
          </a:prstGeom>
        </p:spPr>
      </p:pic>
      <p:pic>
        <p:nvPicPr>
          <p:cNvPr id="16" name="Picture 9" descr="An aerial view of a factory&#10;&#10;Description automatically generated">
            <a:extLst>
              <a:ext uri="{FF2B5EF4-FFF2-40B4-BE49-F238E27FC236}">
                <a16:creationId xmlns:a16="http://schemas.microsoft.com/office/drawing/2014/main" id="{1F559143-05CB-822E-A4D3-A86362B230A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4061" y="3206142"/>
            <a:ext cx="2425371" cy="1856142"/>
          </a:xfrm>
          <a:prstGeom prst="rect">
            <a:avLst/>
          </a:prstGeom>
        </p:spPr>
      </p:pic>
      <p:sp>
        <p:nvSpPr>
          <p:cNvPr id="23" name="Textfeld 22">
            <a:extLst>
              <a:ext uri="{FF2B5EF4-FFF2-40B4-BE49-F238E27FC236}">
                <a16:creationId xmlns:a16="http://schemas.microsoft.com/office/drawing/2014/main" id="{1422A370-0076-7802-0764-F68B8F2CA068}"/>
              </a:ext>
            </a:extLst>
          </p:cNvPr>
          <p:cNvSpPr txBox="1"/>
          <p:nvPr/>
        </p:nvSpPr>
        <p:spPr>
          <a:xfrm>
            <a:off x="7685634" y="5792737"/>
            <a:ext cx="611853" cy="1261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405000">
              <a:lnSpc>
                <a:spcPct val="120000"/>
              </a:lnSpc>
              <a:spcAft>
                <a:spcPts val="300"/>
              </a:spcAft>
            </a:pPr>
            <a:r>
              <a:rPr lang="en-US" sz="750">
                <a:solidFill>
                  <a:srgbClr val="1A1A1A"/>
                </a:solidFill>
                <a:latin typeface="EON Brix Sans"/>
              </a:rPr>
              <a:t>Video (</a:t>
            </a:r>
            <a:r>
              <a:rPr lang="en-US" sz="750">
                <a:solidFill>
                  <a:srgbClr val="1A1A1A"/>
                </a:solidFill>
                <a:latin typeface="EON Brix Sans"/>
                <a:hlinkClick r:id="rId7"/>
              </a:rPr>
              <a:t>Link</a:t>
            </a:r>
            <a:r>
              <a:rPr lang="en-US" sz="750">
                <a:solidFill>
                  <a:srgbClr val="1A1A1A"/>
                </a:solidFill>
                <a:latin typeface="EON Brix Sans"/>
              </a:rPr>
              <a:t>)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F4E00164-AE58-3D6E-4F0E-32D8F5B480C1}"/>
              </a:ext>
            </a:extLst>
          </p:cNvPr>
          <p:cNvSpPr txBox="1"/>
          <p:nvPr/>
        </p:nvSpPr>
        <p:spPr>
          <a:xfrm>
            <a:off x="6406779" y="5792737"/>
            <a:ext cx="912180" cy="1261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405000">
              <a:lnSpc>
                <a:spcPct val="120000"/>
              </a:lnSpc>
              <a:spcAft>
                <a:spcPts val="300"/>
              </a:spcAft>
            </a:pPr>
            <a:r>
              <a:rPr lang="en-US" sz="750">
                <a:solidFill>
                  <a:srgbClr val="1A1A1A"/>
                </a:solidFill>
                <a:latin typeface="EON Brix Sans"/>
              </a:rPr>
              <a:t>3D </a:t>
            </a:r>
            <a:r>
              <a:rPr lang="en-US" sz="750" err="1">
                <a:solidFill>
                  <a:srgbClr val="1A1A1A"/>
                </a:solidFill>
                <a:latin typeface="EON Brix Sans"/>
              </a:rPr>
              <a:t>obilazak</a:t>
            </a:r>
            <a:r>
              <a:rPr lang="en-US" sz="750">
                <a:solidFill>
                  <a:srgbClr val="1A1A1A"/>
                </a:solidFill>
                <a:latin typeface="EON Brix Sans"/>
              </a:rPr>
              <a:t> (</a:t>
            </a:r>
            <a:r>
              <a:rPr lang="en-US" sz="750">
                <a:solidFill>
                  <a:srgbClr val="1A1A1A"/>
                </a:solidFill>
                <a:latin typeface="EON Brix Sans"/>
                <a:hlinkClick r:id="rId8"/>
              </a:rPr>
              <a:t>Link</a:t>
            </a:r>
            <a:r>
              <a:rPr lang="en-US" sz="750">
                <a:solidFill>
                  <a:srgbClr val="1A1A1A"/>
                </a:solidFill>
                <a:latin typeface="EON Brix Sans"/>
              </a:rPr>
              <a:t>)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AE76141A-160E-190C-E2D3-7EC9AE34CD14}"/>
              </a:ext>
            </a:extLst>
          </p:cNvPr>
          <p:cNvSpPr txBox="1"/>
          <p:nvPr/>
        </p:nvSpPr>
        <p:spPr>
          <a:xfrm>
            <a:off x="272536" y="1287895"/>
            <a:ext cx="5376083" cy="18004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800">
              <a:spcAft>
                <a:spcPts val="600"/>
              </a:spcAft>
            </a:pPr>
            <a:r>
              <a:rPr lang="hr-HR" sz="1600" dirty="0" err="1">
                <a:solidFill>
                  <a:srgbClr val="1A1A1A"/>
                </a:solidFill>
                <a:latin typeface="EON Brix Sans"/>
              </a:rPr>
              <a:t>Kogeneracijska</a:t>
            </a:r>
            <a:r>
              <a:rPr lang="hr-HR" sz="1600" dirty="0">
                <a:solidFill>
                  <a:srgbClr val="1A1A1A"/>
                </a:solidFill>
                <a:latin typeface="EON Brix Sans"/>
              </a:rPr>
              <a:t> elektrana nalazi se u industrijskom kompleksu tvrtke </a:t>
            </a:r>
            <a:r>
              <a:rPr lang="hr-HR" sz="1600" dirty="0" err="1">
                <a:solidFill>
                  <a:srgbClr val="1A1A1A"/>
                </a:solidFill>
                <a:latin typeface="EON Brix Sans"/>
              </a:rPr>
              <a:t>AquafilSLO</a:t>
            </a:r>
            <a:r>
              <a:rPr lang="hr-HR" sz="1600" dirty="0">
                <a:solidFill>
                  <a:srgbClr val="1A1A1A"/>
                </a:solidFill>
                <a:latin typeface="EON Brix Sans"/>
              </a:rPr>
              <a:t>. CHP je namijenjen opskrbi tehnološkom </a:t>
            </a:r>
            <a:r>
              <a:rPr lang="hr-HR" sz="1600" b="1" dirty="0">
                <a:solidFill>
                  <a:srgbClr val="1A1A1A"/>
                </a:solidFill>
                <a:latin typeface="EON Brix Sans"/>
              </a:rPr>
              <a:t>parom i električnom energijom </a:t>
            </a:r>
            <a:r>
              <a:rPr lang="hr-HR" sz="1600" dirty="0">
                <a:solidFill>
                  <a:srgbClr val="1A1A1A"/>
                </a:solidFill>
                <a:latin typeface="EON Brix Sans"/>
              </a:rPr>
              <a:t>izravno kupcu. </a:t>
            </a:r>
          </a:p>
          <a:p>
            <a:pPr defTabSz="685800">
              <a:spcAft>
                <a:spcPts val="600"/>
              </a:spcAft>
            </a:pPr>
            <a:r>
              <a:rPr lang="hr-HR" sz="1600" dirty="0">
                <a:solidFill>
                  <a:srgbClr val="1A1A1A"/>
                </a:solidFill>
                <a:latin typeface="EON Brix Sans"/>
              </a:rPr>
              <a:t>Prije implementacije CHP-a, kupac je kupovao toplinsku energiju u obliku pare iz sustava daljinskog grijanja Ljubljane. S novim CHP-om, E.ON opskrbljuje </a:t>
            </a:r>
            <a:r>
              <a:rPr lang="hr-HR" sz="1600" b="1" dirty="0">
                <a:solidFill>
                  <a:srgbClr val="1A1A1A"/>
                </a:solidFill>
                <a:latin typeface="EON Brix Sans"/>
              </a:rPr>
              <a:t>100% potreba kupca za parom </a:t>
            </a:r>
            <a:r>
              <a:rPr lang="hr-HR" sz="1600" dirty="0">
                <a:solidFill>
                  <a:srgbClr val="1A1A1A"/>
                </a:solidFill>
                <a:latin typeface="EON Brix Sans"/>
              </a:rPr>
              <a:t>i </a:t>
            </a:r>
            <a:r>
              <a:rPr lang="hr-HR" sz="1600" b="1" dirty="0">
                <a:solidFill>
                  <a:srgbClr val="1A1A1A"/>
                </a:solidFill>
                <a:latin typeface="EON Brix Sans"/>
              </a:rPr>
              <a:t>otprilike 50% njegovih potreba za električnom energijom</a:t>
            </a:r>
            <a:r>
              <a:rPr lang="hr-HR" sz="1600" dirty="0">
                <a:solidFill>
                  <a:srgbClr val="1A1A1A"/>
                </a:solidFill>
                <a:latin typeface="EON Brix Sans"/>
              </a:rPr>
              <a:t>. </a:t>
            </a:r>
          </a:p>
        </p:txBody>
      </p:sp>
      <p:sp>
        <p:nvSpPr>
          <p:cNvPr id="31" name="Rechteck: abgerundete Ecken 30">
            <a:extLst>
              <a:ext uri="{FF2B5EF4-FFF2-40B4-BE49-F238E27FC236}">
                <a16:creationId xmlns:a16="http://schemas.microsoft.com/office/drawing/2014/main" id="{7D8E7060-3D02-CF4B-4E4C-23EAC23E38DC}"/>
              </a:ext>
            </a:extLst>
          </p:cNvPr>
          <p:cNvSpPr/>
          <p:nvPr/>
        </p:nvSpPr>
        <p:spPr>
          <a:xfrm>
            <a:off x="360001" y="3780473"/>
            <a:ext cx="5376515" cy="1683307"/>
          </a:xfrm>
          <a:prstGeom prst="roundRect">
            <a:avLst>
              <a:gd name="adj" fmla="val 6147"/>
            </a:avLst>
          </a:prstGeom>
          <a:solidFill>
            <a:srgbClr val="F6E5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 defTabSz="405000">
              <a:lnSpc>
                <a:spcPct val="120000"/>
              </a:lnSpc>
              <a:spcAft>
                <a:spcPts val="300"/>
              </a:spcAft>
            </a:pPr>
            <a:endParaRPr lang="en-US" sz="1050">
              <a:solidFill>
                <a:srgbClr val="FFFFFF"/>
              </a:solidFill>
              <a:latin typeface="EON Brix Sans"/>
            </a:endParaRP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276B8929-5F6B-ACBF-FAC8-6308C701AB34}"/>
              </a:ext>
            </a:extLst>
          </p:cNvPr>
          <p:cNvCxnSpPr>
            <a:cxnSpLocks/>
          </p:cNvCxnSpPr>
          <p:nvPr/>
        </p:nvCxnSpPr>
        <p:spPr>
          <a:xfrm>
            <a:off x="2126137" y="3947126"/>
            <a:ext cx="0" cy="1350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300D9F19-47DD-FE62-17AD-E9BC7183FA86}"/>
              </a:ext>
            </a:extLst>
          </p:cNvPr>
          <p:cNvCxnSpPr>
            <a:cxnSpLocks/>
          </p:cNvCxnSpPr>
          <p:nvPr/>
        </p:nvCxnSpPr>
        <p:spPr>
          <a:xfrm>
            <a:off x="3966381" y="3947126"/>
            <a:ext cx="0" cy="1350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feld 38">
            <a:extLst>
              <a:ext uri="{FF2B5EF4-FFF2-40B4-BE49-F238E27FC236}">
                <a16:creationId xmlns:a16="http://schemas.microsoft.com/office/drawing/2014/main" id="{A166CD9D-E006-20DA-9B52-043473A42826}"/>
              </a:ext>
            </a:extLst>
          </p:cNvPr>
          <p:cNvSpPr txBox="1"/>
          <p:nvPr/>
        </p:nvSpPr>
        <p:spPr>
          <a:xfrm>
            <a:off x="365432" y="3828494"/>
            <a:ext cx="1681168" cy="1587264"/>
          </a:xfrm>
          <a:prstGeom prst="rect">
            <a:avLst/>
          </a:prstGeom>
          <a:noFill/>
        </p:spPr>
        <p:txBody>
          <a:bodyPr wrap="square" lIns="108000" tIns="81000" rIns="108000" bIns="81000" rtlCol="0" anchor="ctr">
            <a:noAutofit/>
          </a:bodyPr>
          <a:lstStyle/>
          <a:p>
            <a:pPr algn="ctr" defTabSz="405000">
              <a:lnSpc>
                <a:spcPct val="120000"/>
              </a:lnSpc>
              <a:spcAft>
                <a:spcPts val="900"/>
              </a:spcAft>
            </a:pPr>
            <a:r>
              <a:rPr lang="en-US" sz="1500" b="1" dirty="0" err="1">
                <a:solidFill>
                  <a:srgbClr val="1A1A1A"/>
                </a:solidFill>
                <a:latin typeface="EON Brix Sans"/>
              </a:rPr>
              <a:t>Plinska</a:t>
            </a:r>
            <a:r>
              <a:rPr lang="en-US" sz="1500" b="1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US" sz="1500" b="1" dirty="0" err="1">
                <a:solidFill>
                  <a:srgbClr val="1A1A1A"/>
                </a:solidFill>
                <a:latin typeface="EON Brix Sans"/>
              </a:rPr>
              <a:t>kogeneracija</a:t>
            </a:r>
            <a:br>
              <a:rPr lang="en-US" sz="1500" b="1" dirty="0">
                <a:solidFill>
                  <a:srgbClr val="1A1A1A"/>
                </a:solidFill>
                <a:latin typeface="EON Brix Sans"/>
              </a:rPr>
            </a:br>
            <a:r>
              <a:rPr lang="en-US" sz="750" dirty="0">
                <a:solidFill>
                  <a:srgbClr val="1A1A1A"/>
                </a:solidFill>
                <a:latin typeface="EON Brix Sans"/>
              </a:rPr>
              <a:t>[GT + </a:t>
            </a:r>
            <a:r>
              <a:rPr lang="en-US" sz="750" dirty="0" err="1">
                <a:solidFill>
                  <a:srgbClr val="1A1A1A"/>
                </a:solidFill>
                <a:latin typeface="EON Brix Sans"/>
              </a:rPr>
              <a:t>dosagorijevanje</a:t>
            </a:r>
            <a:r>
              <a:rPr lang="en-US" sz="750" dirty="0">
                <a:solidFill>
                  <a:srgbClr val="1A1A1A"/>
                </a:solidFill>
                <a:latin typeface="EON Brix Sans"/>
              </a:rPr>
              <a:t> + </a:t>
            </a:r>
            <a:r>
              <a:rPr lang="en-US" sz="750" dirty="0" err="1">
                <a:solidFill>
                  <a:srgbClr val="1A1A1A"/>
                </a:solidFill>
                <a:latin typeface="EON Brix Sans"/>
              </a:rPr>
              <a:t>svježi</a:t>
            </a:r>
            <a:r>
              <a:rPr lang="en-US" sz="750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US" sz="750" dirty="0" err="1">
                <a:solidFill>
                  <a:srgbClr val="1A1A1A"/>
                </a:solidFill>
                <a:latin typeface="EON Brix Sans"/>
              </a:rPr>
              <a:t>zrak</a:t>
            </a:r>
            <a:r>
              <a:rPr lang="en-US" sz="750" dirty="0">
                <a:solidFill>
                  <a:srgbClr val="1A1A1A"/>
                </a:solidFill>
                <a:latin typeface="EON Brix Sans"/>
              </a:rPr>
              <a:t>]</a:t>
            </a:r>
            <a:endParaRPr lang="en-US" sz="1500" dirty="0">
              <a:solidFill>
                <a:srgbClr val="1A1A1A"/>
              </a:solidFill>
              <a:latin typeface="EON Brix Sans"/>
            </a:endParaRP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AF7B65CB-6C60-22B7-44A3-6BA0F1CD2930}"/>
              </a:ext>
            </a:extLst>
          </p:cNvPr>
          <p:cNvSpPr txBox="1"/>
          <p:nvPr/>
        </p:nvSpPr>
        <p:spPr>
          <a:xfrm>
            <a:off x="2205674" y="3828494"/>
            <a:ext cx="1681170" cy="1587264"/>
          </a:xfrm>
          <a:prstGeom prst="rect">
            <a:avLst/>
          </a:prstGeom>
          <a:noFill/>
        </p:spPr>
        <p:txBody>
          <a:bodyPr wrap="square" lIns="108000" tIns="81000" rIns="108000" bIns="81000" rtlCol="0" anchor="ctr">
            <a:noAutofit/>
          </a:bodyPr>
          <a:lstStyle/>
          <a:p>
            <a:pPr algn="ctr" defTabSz="405000">
              <a:lnSpc>
                <a:spcPct val="120000"/>
              </a:lnSpc>
              <a:spcAft>
                <a:spcPts val="900"/>
              </a:spcAft>
            </a:pPr>
            <a:r>
              <a:rPr lang="en-US" sz="1500" b="1">
                <a:solidFill>
                  <a:srgbClr val="1A1A1A"/>
                </a:solidFill>
                <a:latin typeface="EON Brix Sans"/>
              </a:rPr>
              <a:t>7.6 </a:t>
            </a:r>
            <a:r>
              <a:rPr lang="en-US" sz="1500" b="1" err="1">
                <a:solidFill>
                  <a:srgbClr val="1A1A1A"/>
                </a:solidFill>
                <a:latin typeface="EON Brix Sans"/>
              </a:rPr>
              <a:t>MWel</a:t>
            </a:r>
            <a:br>
              <a:rPr lang="en-US" sz="1500" b="1">
                <a:solidFill>
                  <a:srgbClr val="1A1A1A"/>
                </a:solidFill>
                <a:latin typeface="EON Brix Sans"/>
              </a:rPr>
            </a:br>
            <a:r>
              <a:rPr lang="en-US" sz="750">
                <a:solidFill>
                  <a:srgbClr val="1A1A1A"/>
                </a:solidFill>
                <a:latin typeface="EON Brix Sans"/>
              </a:rPr>
              <a:t>[8,2 MWe (max @ -10°C)]</a:t>
            </a:r>
            <a:endParaRPr lang="en-US" sz="1500">
              <a:solidFill>
                <a:srgbClr val="1A1A1A"/>
              </a:solidFill>
              <a:latin typeface="EON Brix Sans"/>
            </a:endParaRPr>
          </a:p>
          <a:p>
            <a:pPr algn="ctr" defTabSz="405000">
              <a:lnSpc>
                <a:spcPct val="120000"/>
              </a:lnSpc>
              <a:spcAft>
                <a:spcPts val="900"/>
              </a:spcAft>
              <a:defRPr/>
            </a:pPr>
            <a:r>
              <a:rPr lang="en-US" sz="1500" b="1">
                <a:solidFill>
                  <a:srgbClr val="1A1A1A"/>
                </a:solidFill>
                <a:latin typeface="EON Brix Sans"/>
              </a:rPr>
              <a:t>35MWth</a:t>
            </a:r>
            <a:br>
              <a:rPr lang="en-US" sz="1500" b="1">
                <a:solidFill>
                  <a:srgbClr val="1A1A1A"/>
                </a:solidFill>
                <a:latin typeface="EON Brix Sans"/>
              </a:rPr>
            </a:br>
            <a:r>
              <a:rPr lang="en-US" sz="750">
                <a:solidFill>
                  <a:srgbClr val="1A1A1A"/>
                </a:solidFill>
                <a:latin typeface="EON Brix Sans"/>
              </a:rPr>
              <a:t>[</a:t>
            </a:r>
            <a:r>
              <a:rPr lang="de-DE" sz="750">
                <a:solidFill>
                  <a:srgbClr val="1A1A1A"/>
                </a:solidFill>
                <a:latin typeface="EON Brix Sans"/>
              </a:rPr>
              <a:t>35,9 t/h (</a:t>
            </a:r>
            <a:r>
              <a:rPr lang="de-DE" sz="750" err="1">
                <a:solidFill>
                  <a:srgbClr val="1A1A1A"/>
                </a:solidFill>
                <a:latin typeface="EON Brix Sans"/>
              </a:rPr>
              <a:t>max</a:t>
            </a:r>
            <a:r>
              <a:rPr lang="de-DE" sz="750">
                <a:solidFill>
                  <a:srgbClr val="1A1A1A"/>
                </a:solidFill>
                <a:latin typeface="EON Brix Sans"/>
              </a:rPr>
              <a:t> @ +30°C)</a:t>
            </a:r>
            <a:r>
              <a:rPr lang="en-US" sz="750">
                <a:solidFill>
                  <a:srgbClr val="1A1A1A"/>
                </a:solidFill>
                <a:latin typeface="EON Brix Sans"/>
              </a:rPr>
              <a:t>]</a:t>
            </a:r>
            <a:endParaRPr lang="en-US" sz="1500" b="1">
              <a:solidFill>
                <a:srgbClr val="1A1A1A"/>
              </a:solidFill>
              <a:latin typeface="EON Brix Sans"/>
            </a:endParaRP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3F354661-C04C-C584-9CF2-B8934920730A}"/>
              </a:ext>
            </a:extLst>
          </p:cNvPr>
          <p:cNvSpPr txBox="1"/>
          <p:nvPr/>
        </p:nvSpPr>
        <p:spPr>
          <a:xfrm>
            <a:off x="4045918" y="3828494"/>
            <a:ext cx="1681170" cy="1587264"/>
          </a:xfrm>
          <a:prstGeom prst="rect">
            <a:avLst/>
          </a:prstGeom>
          <a:noFill/>
        </p:spPr>
        <p:txBody>
          <a:bodyPr wrap="square" lIns="108000" tIns="81000" rIns="108000" bIns="81000" rtlCol="0" anchor="ctr">
            <a:noAutofit/>
          </a:bodyPr>
          <a:lstStyle/>
          <a:p>
            <a:pPr algn="ctr" defTabSz="405000">
              <a:lnSpc>
                <a:spcPct val="120000"/>
              </a:lnSpc>
              <a:spcAft>
                <a:spcPts val="900"/>
              </a:spcAft>
            </a:pPr>
            <a:r>
              <a:rPr lang="en-US" sz="1500" b="1">
                <a:solidFill>
                  <a:srgbClr val="1A1A1A"/>
                </a:solidFill>
                <a:latin typeface="EON Brix Sans"/>
              </a:rPr>
              <a:t>59 GWh/god </a:t>
            </a:r>
            <a:br>
              <a:rPr lang="en-US" sz="1500" b="1">
                <a:solidFill>
                  <a:srgbClr val="1A1A1A"/>
                </a:solidFill>
                <a:latin typeface="EON Brix Sans"/>
              </a:rPr>
            </a:br>
            <a:r>
              <a:rPr lang="en-US" sz="1200" err="1">
                <a:solidFill>
                  <a:srgbClr val="1A1A1A"/>
                </a:solidFill>
                <a:latin typeface="EON Brix Sans"/>
              </a:rPr>
              <a:t>električne</a:t>
            </a:r>
            <a:r>
              <a:rPr lang="en-US" sz="1200">
                <a:solidFill>
                  <a:srgbClr val="1A1A1A"/>
                </a:solidFill>
                <a:latin typeface="EON Brix Sans"/>
              </a:rPr>
              <a:t> </a:t>
            </a:r>
            <a:r>
              <a:rPr lang="en-US" sz="1200" err="1">
                <a:solidFill>
                  <a:srgbClr val="1A1A1A"/>
                </a:solidFill>
                <a:latin typeface="EON Brix Sans"/>
              </a:rPr>
              <a:t>energije</a:t>
            </a:r>
            <a:endParaRPr lang="en-US" sz="1200">
              <a:solidFill>
                <a:srgbClr val="1A1A1A"/>
              </a:solidFill>
              <a:latin typeface="EON Brix Sans"/>
            </a:endParaRPr>
          </a:p>
          <a:p>
            <a:pPr algn="ctr" defTabSz="405000">
              <a:lnSpc>
                <a:spcPct val="120000"/>
              </a:lnSpc>
              <a:spcAft>
                <a:spcPts val="900"/>
              </a:spcAft>
            </a:pPr>
            <a:r>
              <a:rPr lang="en-US" sz="1500" b="1">
                <a:solidFill>
                  <a:srgbClr val="1A1A1A"/>
                </a:solidFill>
                <a:latin typeface="EON Brix Sans"/>
              </a:rPr>
              <a:t>220’000 t/god </a:t>
            </a:r>
            <a:br>
              <a:rPr lang="en-US" sz="1500" b="1">
                <a:solidFill>
                  <a:srgbClr val="1A1A1A"/>
                </a:solidFill>
                <a:latin typeface="EON Brix Sans"/>
              </a:rPr>
            </a:br>
            <a:r>
              <a:rPr lang="en-US" sz="1200">
                <a:solidFill>
                  <a:srgbClr val="1A1A1A"/>
                </a:solidFill>
                <a:latin typeface="EON Brix Sans"/>
              </a:rPr>
              <a:t>pare</a:t>
            </a:r>
            <a:br>
              <a:rPr lang="en-US" sz="1200">
                <a:solidFill>
                  <a:srgbClr val="1A1A1A"/>
                </a:solidFill>
                <a:latin typeface="EON Brix Sans"/>
              </a:rPr>
            </a:br>
            <a:r>
              <a:rPr lang="en-US" sz="750">
                <a:solidFill>
                  <a:srgbClr val="1A1A1A"/>
                </a:solidFill>
                <a:latin typeface="EON Brix Sans"/>
              </a:rPr>
              <a:t>[10bar / 255°C​]</a:t>
            </a:r>
          </a:p>
        </p:txBody>
      </p:sp>
      <p:pic>
        <p:nvPicPr>
          <p:cNvPr id="44" name="Grafik 43">
            <a:extLst>
              <a:ext uri="{FF2B5EF4-FFF2-40B4-BE49-F238E27FC236}">
                <a16:creationId xmlns:a16="http://schemas.microsoft.com/office/drawing/2014/main" id="{24C85D20-204F-FBA9-4F4E-AAE947E2BB9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556942" y="5174585"/>
            <a:ext cx="611853" cy="611853"/>
          </a:xfrm>
          <a:prstGeom prst="rect">
            <a:avLst/>
          </a:prstGeom>
        </p:spPr>
      </p:pic>
      <p:pic>
        <p:nvPicPr>
          <p:cNvPr id="46" name="Grafik 45">
            <a:extLst>
              <a:ext uri="{FF2B5EF4-FFF2-40B4-BE49-F238E27FC236}">
                <a16:creationId xmlns:a16="http://schemas.microsoft.com/office/drawing/2014/main" id="{2BE93A86-4AF7-91BE-D5C7-40C9BD0002A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685635" y="5174585"/>
            <a:ext cx="611853" cy="611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72801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61EC1CB-2A16-5091-20BB-6F0A3462E3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6" progId="TCLayout.ActiveDocument.1">
                  <p:embed/>
                </p:oleObj>
              </mc:Choice>
              <mc:Fallback>
                <p:oleObj name="think-cell Folie" r:id="rId3" imgW="425" imgH="42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1EC1CB-2A16-5091-20BB-6F0A3462E3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>
            <a:extLst>
              <a:ext uri="{FF2B5EF4-FFF2-40B4-BE49-F238E27FC236}">
                <a16:creationId xmlns:a16="http://schemas.microsoft.com/office/drawing/2014/main" id="{344D64E0-F36E-3FC9-8073-0C7872F3BB45}"/>
              </a:ext>
            </a:extLst>
          </p:cNvPr>
          <p:cNvSpPr>
            <a:spLocks/>
          </p:cNvSpPr>
          <p:nvPr/>
        </p:nvSpPr>
        <p:spPr>
          <a:xfrm>
            <a:off x="5581816" y="857250"/>
            <a:ext cx="3562185" cy="5487986"/>
          </a:xfrm>
          <a:prstGeom prst="rect">
            <a:avLst/>
          </a:prstGeom>
          <a:solidFill>
            <a:srgbClr val="F8F5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 defTabSz="405000">
              <a:lnSpc>
                <a:spcPct val="120000"/>
              </a:lnSpc>
              <a:spcAft>
                <a:spcPts val="300"/>
              </a:spcAft>
            </a:pPr>
            <a:endParaRPr lang="en-US" sz="1050">
              <a:solidFill>
                <a:srgbClr val="FFFFFF"/>
              </a:solidFill>
              <a:latin typeface="EON Brix Sans"/>
            </a:endParaRP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41A225A2-B474-7436-6D54-7A17DEF9D0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01FFFE70-FC19-4A94-9D10-0B3C8E890CB2}" type="slidenum">
              <a:rPr lang="de-DE">
                <a:solidFill>
                  <a:srgbClr val="1A1A1A"/>
                </a:solidFill>
                <a:latin typeface="EON Brix Sans"/>
              </a:rPr>
              <a:pPr defTabSz="685800"/>
              <a:t>15</a:t>
            </a:fld>
            <a:endParaRPr lang="de-DE">
              <a:solidFill>
                <a:srgbClr val="1A1A1A"/>
              </a:solidFill>
              <a:latin typeface="EON Brix Sans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413763AB-04A0-9FB1-87E2-F74751E127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solidFill>
                  <a:srgbClr val="0075C2"/>
                </a:solidFill>
              </a:rPr>
              <a:t>CHP </a:t>
            </a:r>
            <a:r>
              <a:rPr lang="en-US" dirty="0" err="1">
                <a:solidFill>
                  <a:srgbClr val="0075C2"/>
                </a:solidFill>
              </a:rPr>
              <a:t>Bauwerk</a:t>
            </a:r>
            <a:br>
              <a:rPr lang="en-US" dirty="0">
                <a:solidFill>
                  <a:srgbClr val="0075C2"/>
                </a:solidFill>
              </a:rPr>
            </a:br>
            <a:r>
              <a:rPr lang="en-US" sz="1500" dirty="0" err="1">
                <a:solidFill>
                  <a:srgbClr val="0075C2"/>
                </a:solidFill>
              </a:rPr>
              <a:t>Đurđevac</a:t>
            </a:r>
            <a:r>
              <a:rPr lang="en-US" sz="1500" dirty="0">
                <a:solidFill>
                  <a:srgbClr val="0075C2"/>
                </a:solidFill>
              </a:rPr>
              <a:t>, Hrvatska</a:t>
            </a:r>
            <a:endParaRPr lang="en-US" dirty="0">
              <a:solidFill>
                <a:srgbClr val="0075C2"/>
              </a:solidFill>
            </a:endParaRPr>
          </a:p>
        </p:txBody>
      </p:sp>
      <p:pic>
        <p:nvPicPr>
          <p:cNvPr id="15" name="Picture 8">
            <a:extLst>
              <a:ext uri="{FF2B5EF4-FFF2-40B4-BE49-F238E27FC236}">
                <a16:creationId xmlns:a16="http://schemas.microsoft.com/office/drawing/2014/main" id="{A355822A-2D69-300F-4130-8150331AB89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53167" y="1176540"/>
            <a:ext cx="2690782" cy="2018086"/>
          </a:xfrm>
          <a:prstGeom prst="rect">
            <a:avLst/>
          </a:prstGeom>
        </p:spPr>
      </p:pic>
      <p:sp>
        <p:nvSpPr>
          <p:cNvPr id="25" name="Textfeld 24">
            <a:extLst>
              <a:ext uri="{FF2B5EF4-FFF2-40B4-BE49-F238E27FC236}">
                <a16:creationId xmlns:a16="http://schemas.microsoft.com/office/drawing/2014/main" id="{AE76141A-160E-190C-E2D3-7EC9AE34CD14}"/>
              </a:ext>
            </a:extLst>
          </p:cNvPr>
          <p:cNvSpPr txBox="1"/>
          <p:nvPr/>
        </p:nvSpPr>
        <p:spPr>
          <a:xfrm>
            <a:off x="395926" y="1482559"/>
            <a:ext cx="5376083" cy="266226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685800">
              <a:spcAft>
                <a:spcPts val="600"/>
              </a:spcAft>
            </a:pPr>
            <a:r>
              <a:rPr lang="en-GB" sz="1400" b="1" dirty="0" err="1">
                <a:solidFill>
                  <a:srgbClr val="1A1A1A"/>
                </a:solidFill>
                <a:latin typeface="EON Brix Sans"/>
              </a:rPr>
              <a:t>Bauwerk</a:t>
            </a:r>
            <a:r>
              <a:rPr lang="en-GB" sz="1400" b="1" dirty="0">
                <a:solidFill>
                  <a:srgbClr val="1A1A1A"/>
                </a:solidFill>
                <a:latin typeface="EON Brix Sans"/>
              </a:rPr>
              <a:t> Group Hrvatska, </a:t>
            </a:r>
            <a:r>
              <a:rPr lang="en-GB" sz="1400" b="1" dirty="0" err="1">
                <a:solidFill>
                  <a:srgbClr val="1A1A1A"/>
                </a:solidFill>
                <a:latin typeface="EON Brix Sans"/>
              </a:rPr>
              <a:t>vodeći</a:t>
            </a:r>
            <a:r>
              <a:rPr lang="en-GB" sz="1400" b="1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b="1" dirty="0" err="1">
                <a:solidFill>
                  <a:srgbClr val="1A1A1A"/>
                </a:solidFill>
                <a:latin typeface="EON Brix Sans"/>
              </a:rPr>
              <a:t>proizvođač</a:t>
            </a:r>
            <a:r>
              <a:rPr lang="en-GB" sz="1400" b="1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b="1" dirty="0" err="1">
                <a:solidFill>
                  <a:srgbClr val="1A1A1A"/>
                </a:solidFill>
                <a:latin typeface="EON Brix Sans"/>
              </a:rPr>
              <a:t>i</a:t>
            </a:r>
            <a:r>
              <a:rPr lang="en-GB" sz="1400" b="1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b="1" dirty="0" err="1">
                <a:solidFill>
                  <a:srgbClr val="1A1A1A"/>
                </a:solidFill>
                <a:latin typeface="EON Brix Sans"/>
              </a:rPr>
              <a:t>dobavljač</a:t>
            </a:r>
            <a:r>
              <a:rPr lang="en-GB" sz="1400" b="1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b="1" dirty="0" err="1">
                <a:solidFill>
                  <a:srgbClr val="1A1A1A"/>
                </a:solidFill>
                <a:latin typeface="EON Brix Sans"/>
              </a:rPr>
              <a:t>vrhunskog</a:t>
            </a:r>
            <a:r>
              <a:rPr lang="en-GB" sz="1400" b="1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b="1" dirty="0" err="1">
                <a:solidFill>
                  <a:srgbClr val="1A1A1A"/>
                </a:solidFill>
                <a:latin typeface="EON Brix Sans"/>
              </a:rPr>
              <a:t>parketa</a:t>
            </a:r>
            <a:r>
              <a:rPr lang="en-GB" sz="1400" b="1" dirty="0">
                <a:solidFill>
                  <a:srgbClr val="1A1A1A"/>
                </a:solidFill>
                <a:latin typeface="EON Brix Sans"/>
              </a:rPr>
              <a:t>, </a:t>
            </a:r>
            <a:r>
              <a:rPr lang="en-GB" sz="1400" b="1" dirty="0" err="1">
                <a:solidFill>
                  <a:srgbClr val="1A1A1A"/>
                </a:solidFill>
                <a:latin typeface="EON Brix Sans"/>
              </a:rPr>
              <a:t>i</a:t>
            </a:r>
            <a:r>
              <a:rPr lang="en-GB" sz="1400" b="1" dirty="0">
                <a:solidFill>
                  <a:srgbClr val="1A1A1A"/>
                </a:solidFill>
                <a:latin typeface="EON Brix Sans"/>
              </a:rPr>
              <a:t> E.ON </a:t>
            </a:r>
            <a:r>
              <a:rPr lang="en-GB" sz="1400" b="1" dirty="0" err="1">
                <a:solidFill>
                  <a:srgbClr val="1A1A1A"/>
                </a:solidFill>
                <a:latin typeface="EON Brix Sans"/>
              </a:rPr>
              <a:t>udružili</a:t>
            </a:r>
            <a:r>
              <a:rPr lang="en-GB" sz="1400" b="1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b="1" dirty="0" err="1">
                <a:solidFill>
                  <a:srgbClr val="1A1A1A"/>
                </a:solidFill>
                <a:latin typeface="EON Brix Sans"/>
              </a:rPr>
              <a:t>su</a:t>
            </a:r>
            <a:r>
              <a:rPr lang="en-GB" sz="1400" b="1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b="1" dirty="0" err="1">
                <a:solidFill>
                  <a:srgbClr val="1A1A1A"/>
                </a:solidFill>
                <a:latin typeface="EON Brix Sans"/>
              </a:rPr>
              <a:t>snage</a:t>
            </a:r>
            <a:r>
              <a:rPr lang="en-GB" sz="1400" b="1" dirty="0">
                <a:solidFill>
                  <a:srgbClr val="1A1A1A"/>
                </a:solidFill>
                <a:latin typeface="EON Brix Sans"/>
              </a:rPr>
              <a:t> za </a:t>
            </a:r>
            <a:r>
              <a:rPr lang="en-GB" sz="1400" b="1" dirty="0" err="1">
                <a:solidFill>
                  <a:srgbClr val="1A1A1A"/>
                </a:solidFill>
                <a:latin typeface="EON Brix Sans"/>
              </a:rPr>
              <a:t>održivu</a:t>
            </a:r>
            <a:r>
              <a:rPr lang="en-GB" sz="1400" b="1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b="1" dirty="0" err="1">
                <a:solidFill>
                  <a:srgbClr val="1A1A1A"/>
                </a:solidFill>
                <a:latin typeface="EON Brix Sans"/>
              </a:rPr>
              <a:t>budućnost</a:t>
            </a:r>
            <a:r>
              <a:rPr lang="en-GB" sz="1400" b="1" dirty="0">
                <a:solidFill>
                  <a:srgbClr val="1A1A1A"/>
                </a:solidFill>
                <a:latin typeface="EON Brix Sans"/>
              </a:rPr>
              <a:t> s </a:t>
            </a:r>
            <a:r>
              <a:rPr lang="en-GB" sz="1400" b="1" dirty="0" err="1">
                <a:solidFill>
                  <a:srgbClr val="1A1A1A"/>
                </a:solidFill>
                <a:latin typeface="EON Brix Sans"/>
              </a:rPr>
              <a:t>prvim</a:t>
            </a:r>
            <a:r>
              <a:rPr lang="en-GB" sz="1400" b="1" dirty="0">
                <a:solidFill>
                  <a:srgbClr val="1A1A1A"/>
                </a:solidFill>
                <a:latin typeface="EON Brix Sans"/>
              </a:rPr>
              <a:t> ne-</a:t>
            </a:r>
            <a:r>
              <a:rPr lang="en-GB" sz="1400" b="1" dirty="0" err="1">
                <a:solidFill>
                  <a:srgbClr val="1A1A1A"/>
                </a:solidFill>
                <a:latin typeface="EON Brix Sans"/>
              </a:rPr>
              <a:t>fotonaponskim</a:t>
            </a:r>
            <a:r>
              <a:rPr lang="en-GB" sz="1400" b="1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b="1" dirty="0" err="1">
                <a:solidFill>
                  <a:srgbClr val="1A1A1A"/>
                </a:solidFill>
                <a:latin typeface="EON Brix Sans"/>
              </a:rPr>
              <a:t>projektom</a:t>
            </a:r>
            <a:r>
              <a:rPr lang="en-GB" sz="1400" b="1" dirty="0">
                <a:solidFill>
                  <a:srgbClr val="1A1A1A"/>
                </a:solidFill>
                <a:latin typeface="EON Brix Sans"/>
              </a:rPr>
              <a:t> u </a:t>
            </a:r>
            <a:r>
              <a:rPr lang="en-GB" sz="1400" b="1" dirty="0" err="1">
                <a:solidFill>
                  <a:srgbClr val="1A1A1A"/>
                </a:solidFill>
                <a:latin typeface="EON Brix Sans"/>
              </a:rPr>
              <a:t>Hrvatskoj</a:t>
            </a:r>
            <a:r>
              <a:rPr lang="en-GB" sz="1400" b="1" dirty="0">
                <a:solidFill>
                  <a:srgbClr val="1A1A1A"/>
                </a:solidFill>
                <a:latin typeface="EON Brix Sans"/>
              </a:rPr>
              <a:t>. </a:t>
            </a:r>
            <a:r>
              <a:rPr lang="en-GB" sz="1400" b="1" dirty="0" err="1">
                <a:solidFill>
                  <a:srgbClr val="1A1A1A"/>
                </a:solidFill>
                <a:latin typeface="EON Brix Sans"/>
              </a:rPr>
              <a:t>Rezultat</a:t>
            </a:r>
            <a:r>
              <a:rPr lang="en-GB" sz="1400" b="1" dirty="0">
                <a:solidFill>
                  <a:srgbClr val="1A1A1A"/>
                </a:solidFill>
                <a:latin typeface="EON Brix Sans"/>
              </a:rPr>
              <a:t>: </a:t>
            </a:r>
            <a:r>
              <a:rPr lang="en-GB" sz="1400" b="1" dirty="0" err="1">
                <a:solidFill>
                  <a:srgbClr val="1A1A1A"/>
                </a:solidFill>
                <a:latin typeface="EON Brix Sans"/>
              </a:rPr>
              <a:t>energetsko</a:t>
            </a:r>
            <a:r>
              <a:rPr lang="en-GB" sz="1400" b="1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b="1" dirty="0" err="1">
                <a:solidFill>
                  <a:srgbClr val="1A1A1A"/>
                </a:solidFill>
                <a:latin typeface="EON Brix Sans"/>
              </a:rPr>
              <a:t>postrojenje</a:t>
            </a:r>
            <a:r>
              <a:rPr lang="en-GB" sz="1400" b="1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b="1" dirty="0" err="1">
                <a:solidFill>
                  <a:srgbClr val="1A1A1A"/>
                </a:solidFill>
                <a:latin typeface="EON Brix Sans"/>
              </a:rPr>
              <a:t>na</a:t>
            </a:r>
            <a:r>
              <a:rPr lang="en-GB" sz="1400" b="1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b="1" dirty="0" err="1">
                <a:solidFill>
                  <a:srgbClr val="1A1A1A"/>
                </a:solidFill>
                <a:latin typeface="EON Brix Sans"/>
              </a:rPr>
              <a:t>biomasu</a:t>
            </a:r>
            <a:r>
              <a:rPr lang="en-GB" sz="1400" b="1" dirty="0">
                <a:solidFill>
                  <a:srgbClr val="1A1A1A"/>
                </a:solidFill>
                <a:latin typeface="EON Brix Sans"/>
              </a:rPr>
              <a:t>.</a:t>
            </a:r>
          </a:p>
          <a:p>
            <a:pPr defTabSz="685800">
              <a:spcAft>
                <a:spcPts val="600"/>
              </a:spcAft>
            </a:pP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Glavni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predmet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ugovora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su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b="1" dirty="0" err="1">
                <a:solidFill>
                  <a:srgbClr val="1A1A1A"/>
                </a:solidFill>
                <a:latin typeface="EON Brix Sans"/>
              </a:rPr>
              <a:t>drvna</a:t>
            </a:r>
            <a:r>
              <a:rPr lang="en-GB" sz="1400" b="1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b="1" dirty="0" err="1">
                <a:solidFill>
                  <a:srgbClr val="1A1A1A"/>
                </a:solidFill>
                <a:latin typeface="EON Brix Sans"/>
              </a:rPr>
              <a:t>sječka</a:t>
            </a:r>
            <a:r>
              <a:rPr lang="en-GB" sz="1400" b="1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koja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ostaje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iz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proizvodnog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ciklusa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parketa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Bauwerk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 Group Hrvatska. </a:t>
            </a:r>
            <a:r>
              <a:rPr lang="en-GB" sz="1400" b="1" dirty="0" err="1">
                <a:solidFill>
                  <a:srgbClr val="1A1A1A"/>
                </a:solidFill>
                <a:latin typeface="EON Brix Sans"/>
              </a:rPr>
              <a:t>Drvni</a:t>
            </a:r>
            <a:r>
              <a:rPr lang="en-GB" sz="1400" b="1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b="1" dirty="0" err="1">
                <a:solidFill>
                  <a:srgbClr val="1A1A1A"/>
                </a:solidFill>
                <a:latin typeface="EON Brix Sans"/>
              </a:rPr>
              <a:t>ostaci</a:t>
            </a:r>
            <a:r>
              <a:rPr lang="en-GB" sz="1400" b="1" dirty="0">
                <a:solidFill>
                  <a:srgbClr val="1A1A1A"/>
                </a:solidFill>
                <a:latin typeface="EON Brix Sans"/>
              </a:rPr>
              <a:t> se </a:t>
            </a:r>
            <a:r>
              <a:rPr lang="en-GB" sz="1400" b="1" dirty="0" err="1">
                <a:solidFill>
                  <a:srgbClr val="1A1A1A"/>
                </a:solidFill>
                <a:latin typeface="EON Brix Sans"/>
              </a:rPr>
              <a:t>koriste</a:t>
            </a:r>
            <a:r>
              <a:rPr lang="en-GB" sz="1400" b="1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b="1" dirty="0" err="1">
                <a:solidFill>
                  <a:srgbClr val="1A1A1A"/>
                </a:solidFill>
                <a:latin typeface="EON Brix Sans"/>
              </a:rPr>
              <a:t>kao</a:t>
            </a:r>
            <a:r>
              <a:rPr lang="en-GB" sz="1400" b="1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b="1" dirty="0" err="1">
                <a:solidFill>
                  <a:srgbClr val="1A1A1A"/>
                </a:solidFill>
                <a:latin typeface="EON Brix Sans"/>
              </a:rPr>
              <a:t>gorivo</a:t>
            </a:r>
            <a:r>
              <a:rPr lang="en-GB" sz="1400" b="1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b="1" dirty="0" err="1">
                <a:solidFill>
                  <a:srgbClr val="1A1A1A"/>
                </a:solidFill>
                <a:latin typeface="EON Brix Sans"/>
              </a:rPr>
              <a:t>i</a:t>
            </a:r>
            <a:r>
              <a:rPr lang="en-GB" sz="1400" b="1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b="1" dirty="0" err="1">
                <a:solidFill>
                  <a:srgbClr val="1A1A1A"/>
                </a:solidFill>
                <a:latin typeface="EON Brix Sans"/>
              </a:rPr>
              <a:t>pretvaraju</a:t>
            </a:r>
            <a:r>
              <a:rPr lang="en-GB" sz="1400" b="1" dirty="0">
                <a:solidFill>
                  <a:srgbClr val="1A1A1A"/>
                </a:solidFill>
                <a:latin typeface="EON Brix Sans"/>
              </a:rPr>
              <a:t> u </a:t>
            </a:r>
            <a:r>
              <a:rPr lang="en-GB" sz="1400" b="1" dirty="0" err="1">
                <a:solidFill>
                  <a:srgbClr val="1A1A1A"/>
                </a:solidFill>
                <a:latin typeface="EON Brix Sans"/>
              </a:rPr>
              <a:t>energiju</a:t>
            </a:r>
            <a:r>
              <a:rPr lang="en-GB" sz="1400" b="1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b="1" dirty="0" err="1">
                <a:solidFill>
                  <a:srgbClr val="1A1A1A"/>
                </a:solidFill>
                <a:latin typeface="EON Brix Sans"/>
              </a:rPr>
              <a:t>putem</a:t>
            </a:r>
            <a:r>
              <a:rPr lang="en-GB" sz="1400" b="1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b="1" dirty="0" err="1">
                <a:solidFill>
                  <a:srgbClr val="1A1A1A"/>
                </a:solidFill>
                <a:latin typeface="EON Brix Sans"/>
              </a:rPr>
              <a:t>postrojenja</a:t>
            </a:r>
            <a:r>
              <a:rPr lang="en-GB" sz="1400" b="1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b="1" dirty="0" err="1">
                <a:solidFill>
                  <a:srgbClr val="1A1A1A"/>
                </a:solidFill>
                <a:latin typeface="EON Brix Sans"/>
              </a:rPr>
              <a:t>na</a:t>
            </a:r>
            <a:r>
              <a:rPr lang="en-GB" sz="1400" b="1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b="1" dirty="0" err="1">
                <a:solidFill>
                  <a:srgbClr val="1A1A1A"/>
                </a:solidFill>
                <a:latin typeface="EON Brix Sans"/>
              </a:rPr>
              <a:t>biomasu</a:t>
            </a:r>
            <a:r>
              <a:rPr lang="en-GB" sz="1400" b="1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b="1" dirty="0" err="1">
                <a:solidFill>
                  <a:srgbClr val="1A1A1A"/>
                </a:solidFill>
                <a:latin typeface="EON Brix Sans"/>
              </a:rPr>
              <a:t>na</a:t>
            </a:r>
            <a:r>
              <a:rPr lang="en-GB" sz="1400" b="1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b="1" dirty="0" err="1">
                <a:solidFill>
                  <a:srgbClr val="1A1A1A"/>
                </a:solidFill>
                <a:latin typeface="EON Brix Sans"/>
              </a:rPr>
              <a:t>mjestu</a:t>
            </a:r>
            <a:r>
              <a:rPr lang="en-GB" sz="1400" b="1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b="1" dirty="0" err="1">
                <a:solidFill>
                  <a:srgbClr val="1A1A1A"/>
                </a:solidFill>
                <a:latin typeface="EON Brix Sans"/>
              </a:rPr>
              <a:t>nastanka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. Ova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tehnologija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donosi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nekoliko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važnih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prednosti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odjednom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: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dovodi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 do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značajnih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ušteda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električne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energije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,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smanjuje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potrebu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 za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dodatnim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izvorima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energije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i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prekida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ovisnost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 o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visoko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promjenjivim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cijenama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energetskih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izvora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na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tržištima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. Tako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ugovor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nije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samo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veliki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iskorak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 u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drvnoj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industriji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,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već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i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 za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održivi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energetski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 </a:t>
            </a:r>
            <a:r>
              <a:rPr lang="en-GB" sz="1400" dirty="0" err="1">
                <a:solidFill>
                  <a:srgbClr val="1A1A1A"/>
                </a:solidFill>
                <a:latin typeface="EON Brix Sans"/>
              </a:rPr>
              <a:t>prijelaz</a:t>
            </a:r>
            <a:r>
              <a:rPr lang="en-GB" sz="1400" dirty="0">
                <a:solidFill>
                  <a:srgbClr val="1A1A1A"/>
                </a:solidFill>
                <a:latin typeface="EON Brix Sans"/>
              </a:rPr>
              <a:t>.</a:t>
            </a:r>
          </a:p>
        </p:txBody>
      </p:sp>
      <p:sp>
        <p:nvSpPr>
          <p:cNvPr id="31" name="Rechteck: abgerundete Ecken 30">
            <a:extLst>
              <a:ext uri="{FF2B5EF4-FFF2-40B4-BE49-F238E27FC236}">
                <a16:creationId xmlns:a16="http://schemas.microsoft.com/office/drawing/2014/main" id="{7D8E7060-3D02-CF4B-4E4C-23EAC23E38DC}"/>
              </a:ext>
            </a:extLst>
          </p:cNvPr>
          <p:cNvSpPr/>
          <p:nvPr/>
        </p:nvSpPr>
        <p:spPr>
          <a:xfrm>
            <a:off x="360001" y="4362900"/>
            <a:ext cx="5376515" cy="1100880"/>
          </a:xfrm>
          <a:prstGeom prst="roundRect">
            <a:avLst>
              <a:gd name="adj" fmla="val 6147"/>
            </a:avLst>
          </a:prstGeom>
          <a:solidFill>
            <a:srgbClr val="F6E5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 defTabSz="405000">
              <a:lnSpc>
                <a:spcPct val="120000"/>
              </a:lnSpc>
              <a:spcAft>
                <a:spcPts val="300"/>
              </a:spcAft>
            </a:pPr>
            <a:endParaRPr lang="en-US" sz="1050">
              <a:solidFill>
                <a:srgbClr val="FFFFFF"/>
              </a:solidFill>
              <a:latin typeface="EON Brix Sans"/>
            </a:endParaRP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276B8929-5F6B-ACBF-FAC8-6308C701AB34}"/>
              </a:ext>
            </a:extLst>
          </p:cNvPr>
          <p:cNvCxnSpPr>
            <a:cxnSpLocks/>
          </p:cNvCxnSpPr>
          <p:nvPr/>
        </p:nvCxnSpPr>
        <p:spPr>
          <a:xfrm>
            <a:off x="2126137" y="4455275"/>
            <a:ext cx="0" cy="882897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300D9F19-47DD-FE62-17AD-E9BC7183FA86}"/>
              </a:ext>
            </a:extLst>
          </p:cNvPr>
          <p:cNvCxnSpPr>
            <a:cxnSpLocks/>
          </p:cNvCxnSpPr>
          <p:nvPr/>
        </p:nvCxnSpPr>
        <p:spPr>
          <a:xfrm>
            <a:off x="3966381" y="4455275"/>
            <a:ext cx="0" cy="882897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feld 38">
            <a:extLst>
              <a:ext uri="{FF2B5EF4-FFF2-40B4-BE49-F238E27FC236}">
                <a16:creationId xmlns:a16="http://schemas.microsoft.com/office/drawing/2014/main" id="{A166CD9D-E006-20DA-9B52-043473A42826}"/>
              </a:ext>
            </a:extLst>
          </p:cNvPr>
          <p:cNvSpPr txBox="1"/>
          <p:nvPr/>
        </p:nvSpPr>
        <p:spPr>
          <a:xfrm>
            <a:off x="365432" y="4377690"/>
            <a:ext cx="1681168" cy="1038068"/>
          </a:xfrm>
          <a:prstGeom prst="rect">
            <a:avLst/>
          </a:prstGeom>
          <a:noFill/>
        </p:spPr>
        <p:txBody>
          <a:bodyPr wrap="square" lIns="270000" tIns="81000" rIns="270000" bIns="81000" rtlCol="0" anchor="ctr">
            <a:noAutofit/>
          </a:bodyPr>
          <a:lstStyle/>
          <a:p>
            <a:pPr algn="ctr" defTabSz="405000">
              <a:lnSpc>
                <a:spcPct val="120000"/>
              </a:lnSpc>
              <a:spcAft>
                <a:spcPts val="900"/>
              </a:spcAft>
            </a:pPr>
            <a:r>
              <a:rPr lang="en-US" sz="1500" b="1" err="1">
                <a:solidFill>
                  <a:srgbClr val="1A1A1A"/>
                </a:solidFill>
                <a:latin typeface="EON Brix Sans"/>
              </a:rPr>
              <a:t>Kogeneracija</a:t>
            </a:r>
            <a:r>
              <a:rPr lang="en-US" sz="1500" b="1">
                <a:solidFill>
                  <a:srgbClr val="1A1A1A"/>
                </a:solidFill>
                <a:latin typeface="EON Brix Sans"/>
              </a:rPr>
              <a:t> </a:t>
            </a:r>
            <a:r>
              <a:rPr lang="en-US" sz="1500" b="1" err="1">
                <a:solidFill>
                  <a:srgbClr val="1A1A1A"/>
                </a:solidFill>
                <a:latin typeface="EON Brix Sans"/>
              </a:rPr>
              <a:t>na</a:t>
            </a:r>
            <a:r>
              <a:rPr lang="en-US" sz="1500" b="1">
                <a:solidFill>
                  <a:srgbClr val="1A1A1A"/>
                </a:solidFill>
                <a:latin typeface="EON Brix Sans"/>
              </a:rPr>
              <a:t> </a:t>
            </a:r>
            <a:r>
              <a:rPr lang="en-US" sz="1500" b="1" err="1">
                <a:solidFill>
                  <a:srgbClr val="1A1A1A"/>
                </a:solidFill>
                <a:latin typeface="EON Brix Sans"/>
              </a:rPr>
              <a:t>biomasu</a:t>
            </a:r>
            <a:endParaRPr lang="en-US" sz="1500" b="1">
              <a:solidFill>
                <a:srgbClr val="1A1A1A"/>
              </a:solidFill>
              <a:latin typeface="EON Brix Sans"/>
            </a:endParaRP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AF7B65CB-6C60-22B7-44A3-6BA0F1CD2930}"/>
              </a:ext>
            </a:extLst>
          </p:cNvPr>
          <p:cNvSpPr txBox="1"/>
          <p:nvPr/>
        </p:nvSpPr>
        <p:spPr>
          <a:xfrm>
            <a:off x="2205674" y="4377690"/>
            <a:ext cx="1681170" cy="1038068"/>
          </a:xfrm>
          <a:prstGeom prst="rect">
            <a:avLst/>
          </a:prstGeom>
          <a:noFill/>
        </p:spPr>
        <p:txBody>
          <a:bodyPr wrap="square" lIns="270000" tIns="81000" rIns="270000" bIns="81000" rtlCol="0" anchor="ctr">
            <a:noAutofit/>
          </a:bodyPr>
          <a:lstStyle/>
          <a:p>
            <a:pPr algn="ctr" defTabSz="405000">
              <a:lnSpc>
                <a:spcPct val="120000"/>
              </a:lnSpc>
              <a:spcAft>
                <a:spcPts val="900"/>
              </a:spcAft>
            </a:pPr>
            <a:r>
              <a:rPr lang="en-US" sz="1500" b="1">
                <a:solidFill>
                  <a:srgbClr val="1A1A1A"/>
                </a:solidFill>
                <a:latin typeface="EON Brix Sans"/>
              </a:rPr>
              <a:t>~6 MW</a:t>
            </a:r>
            <a:br>
              <a:rPr lang="en-US" sz="1500" b="1">
                <a:solidFill>
                  <a:srgbClr val="1A1A1A"/>
                </a:solidFill>
                <a:latin typeface="EON Brix Sans"/>
              </a:rPr>
            </a:br>
            <a:r>
              <a:rPr lang="en-US" sz="900" b="1" err="1">
                <a:solidFill>
                  <a:srgbClr val="1A1A1A"/>
                </a:solidFill>
                <a:latin typeface="EON Brix Sans"/>
              </a:rPr>
              <a:t>instaliranog</a:t>
            </a:r>
            <a:r>
              <a:rPr lang="en-US" sz="900" b="1">
                <a:solidFill>
                  <a:srgbClr val="1A1A1A"/>
                </a:solidFill>
                <a:latin typeface="EON Brix Sans"/>
              </a:rPr>
              <a:t> </a:t>
            </a:r>
            <a:r>
              <a:rPr lang="en-US" sz="900" b="1" err="1">
                <a:solidFill>
                  <a:srgbClr val="1A1A1A"/>
                </a:solidFill>
                <a:latin typeface="EON Brix Sans"/>
              </a:rPr>
              <a:t>toplinskog</a:t>
            </a:r>
            <a:r>
              <a:rPr lang="en-US" sz="900" b="1">
                <a:solidFill>
                  <a:srgbClr val="1A1A1A"/>
                </a:solidFill>
                <a:latin typeface="EON Brix Sans"/>
              </a:rPr>
              <a:t> </a:t>
            </a:r>
            <a:r>
              <a:rPr lang="en-US" sz="900" b="1" err="1">
                <a:solidFill>
                  <a:srgbClr val="1A1A1A"/>
                </a:solidFill>
                <a:latin typeface="EON Brix Sans"/>
              </a:rPr>
              <a:t>kapaciteta</a:t>
            </a:r>
            <a:endParaRPr lang="en-US" sz="900" b="1">
              <a:solidFill>
                <a:srgbClr val="1A1A1A"/>
              </a:solidFill>
              <a:latin typeface="EON Brix Sans"/>
            </a:endParaRP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3F354661-C04C-C584-9CF2-B8934920730A}"/>
              </a:ext>
            </a:extLst>
          </p:cNvPr>
          <p:cNvSpPr txBox="1"/>
          <p:nvPr/>
        </p:nvSpPr>
        <p:spPr>
          <a:xfrm>
            <a:off x="4045918" y="4377690"/>
            <a:ext cx="1681170" cy="1038068"/>
          </a:xfrm>
          <a:prstGeom prst="rect">
            <a:avLst/>
          </a:prstGeom>
          <a:noFill/>
        </p:spPr>
        <p:txBody>
          <a:bodyPr wrap="square" lIns="270000" tIns="81000" rIns="270000" bIns="81000" rtlCol="0" anchor="ctr">
            <a:noAutofit/>
          </a:bodyPr>
          <a:lstStyle/>
          <a:p>
            <a:pPr algn="ctr" defTabSz="405000">
              <a:lnSpc>
                <a:spcPct val="120000"/>
              </a:lnSpc>
              <a:spcAft>
                <a:spcPts val="900"/>
              </a:spcAft>
              <a:defRPr/>
            </a:pPr>
            <a:r>
              <a:rPr lang="en-US" sz="1500" b="1">
                <a:solidFill>
                  <a:srgbClr val="1A1A1A"/>
                </a:solidFill>
                <a:latin typeface="EON Brix Sans"/>
              </a:rPr>
              <a:t>1.1 MW</a:t>
            </a:r>
            <a:br>
              <a:rPr lang="en-US" sz="1500" b="1">
                <a:solidFill>
                  <a:srgbClr val="1A1A1A"/>
                </a:solidFill>
                <a:latin typeface="EON Brix Sans"/>
              </a:rPr>
            </a:br>
            <a:r>
              <a:rPr lang="en-US" sz="900" b="1" err="1">
                <a:solidFill>
                  <a:srgbClr val="1A1A1A"/>
                </a:solidFill>
                <a:latin typeface="EON Brix Sans"/>
              </a:rPr>
              <a:t>instaliranog</a:t>
            </a:r>
            <a:r>
              <a:rPr lang="en-US" sz="900" b="1">
                <a:solidFill>
                  <a:srgbClr val="1A1A1A"/>
                </a:solidFill>
                <a:latin typeface="EON Brix Sans"/>
              </a:rPr>
              <a:t> </a:t>
            </a:r>
            <a:r>
              <a:rPr lang="en-US" sz="900" b="1" err="1">
                <a:solidFill>
                  <a:srgbClr val="1A1A1A"/>
                </a:solidFill>
                <a:latin typeface="EON Brix Sans"/>
              </a:rPr>
              <a:t>električnog</a:t>
            </a:r>
            <a:r>
              <a:rPr lang="en-US" sz="900" b="1">
                <a:solidFill>
                  <a:srgbClr val="1A1A1A"/>
                </a:solidFill>
                <a:latin typeface="EON Brix Sans"/>
              </a:rPr>
              <a:t> </a:t>
            </a:r>
            <a:r>
              <a:rPr lang="en-US" sz="900" b="1" err="1">
                <a:solidFill>
                  <a:srgbClr val="1A1A1A"/>
                </a:solidFill>
                <a:latin typeface="EON Brix Sans"/>
              </a:rPr>
              <a:t>kapaciteta</a:t>
            </a:r>
            <a:endParaRPr lang="en-US" sz="900" b="1">
              <a:solidFill>
                <a:srgbClr val="1A1A1A"/>
              </a:solidFill>
              <a:latin typeface="EON Brix Sans"/>
            </a:endParaRPr>
          </a:p>
        </p:txBody>
      </p:sp>
      <p:pic>
        <p:nvPicPr>
          <p:cNvPr id="9" name="Grafik 8" descr="Ein Bild, das draußen, Gras, Himmel, Pflanze enthält.&#10;&#10;Automatisch generierte Beschreibung">
            <a:extLst>
              <a:ext uri="{FF2B5EF4-FFF2-40B4-BE49-F238E27FC236}">
                <a16:creationId xmlns:a16="http://schemas.microsoft.com/office/drawing/2014/main" id="{50AB026E-B064-89F1-1C8B-1CAC0A362578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644" b="18245"/>
          <a:stretch/>
        </p:blipFill>
        <p:spPr>
          <a:xfrm>
            <a:off x="6007685" y="3397429"/>
            <a:ext cx="2781747" cy="2414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92907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6F5A5072-7B47-4D32-B52A-4EBBF590B8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15DAF0-AE1B-46C9-8A6B-DB2AA05AB9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-1" y="-22693"/>
            <a:ext cx="9143998" cy="4374129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rgbClr val="000000"/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016219D-510E-4184-9090-6D5578A87B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2384720" y="-2407841"/>
            <a:ext cx="4374557" cy="9144000"/>
          </a:xfrm>
          <a:prstGeom prst="rect">
            <a:avLst/>
          </a:prstGeom>
          <a:gradFill>
            <a:gsLst>
              <a:gs pos="40000">
                <a:schemeClr val="accent1">
                  <a:alpha val="0"/>
                </a:schemeClr>
              </a:gs>
              <a:gs pos="100000">
                <a:schemeClr val="accent1">
                  <a:lumMod val="75000"/>
                  <a:alpha val="52000"/>
                </a:scheme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FF4A713-7B75-4B21-90D7-5AB19547C7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2555756" y="-2236808"/>
            <a:ext cx="4374128" cy="8802359"/>
          </a:xfrm>
          <a:prstGeom prst="rect">
            <a:avLst/>
          </a:prstGeom>
          <a:gradFill>
            <a:gsLst>
              <a:gs pos="17000">
                <a:schemeClr val="accent1">
                  <a:alpha val="0"/>
                </a:schemeClr>
              </a:gs>
              <a:gs pos="100000">
                <a:srgbClr val="000000">
                  <a:alpha val="37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C631C0B-6DA6-4E57-8231-CE32B3434A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3" y="-22690"/>
            <a:ext cx="6406863" cy="4374126"/>
          </a:xfrm>
          <a:prstGeom prst="rect">
            <a:avLst/>
          </a:prstGeom>
          <a:gradFill>
            <a:gsLst>
              <a:gs pos="0">
                <a:schemeClr val="accent1">
                  <a:lumMod val="50000"/>
                  <a:alpha val="0"/>
                </a:schemeClr>
              </a:gs>
              <a:gs pos="100000">
                <a:srgbClr val="000000">
                  <a:alpha val="25000"/>
                </a:srgb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C29501E6-A978-4A61-9689-9085AF97A5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2508972">
            <a:off x="4459073" y="-1032053"/>
            <a:ext cx="3742610" cy="4439131"/>
          </a:xfrm>
          <a:custGeom>
            <a:avLst/>
            <a:gdLst>
              <a:gd name="connsiteX0" fmla="*/ 4990147 w 4990147"/>
              <a:gd name="connsiteY0" fmla="*/ 2229378 h 4439131"/>
              <a:gd name="connsiteX1" fmla="*/ 917384 w 4990147"/>
              <a:gd name="connsiteY1" fmla="*/ 4439131 h 4439131"/>
              <a:gd name="connsiteX2" fmla="*/ 910814 w 4990147"/>
              <a:gd name="connsiteY2" fmla="*/ 4434219 h 4439131"/>
              <a:gd name="connsiteX3" fmla="*/ 0 w 4990147"/>
              <a:gd name="connsiteY3" fmla="*/ 2502877 h 4439131"/>
              <a:gd name="connsiteX4" fmla="*/ 2502877 w 4990147"/>
              <a:gd name="connsiteY4" fmla="*/ 0 h 4439131"/>
              <a:gd name="connsiteX5" fmla="*/ 4954904 w 4990147"/>
              <a:gd name="connsiteY5" fmla="*/ 1998460 h 4439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90147" h="4439131">
                <a:moveTo>
                  <a:pt x="4990147" y="2229378"/>
                </a:moveTo>
                <a:lnTo>
                  <a:pt x="917384" y="4439131"/>
                </a:lnTo>
                <a:lnTo>
                  <a:pt x="910814" y="4434219"/>
                </a:lnTo>
                <a:cubicBezTo>
                  <a:pt x="354557" y="3975154"/>
                  <a:pt x="0" y="3280421"/>
                  <a:pt x="0" y="2502877"/>
                </a:cubicBezTo>
                <a:cubicBezTo>
                  <a:pt x="0" y="1120576"/>
                  <a:pt x="1120576" y="0"/>
                  <a:pt x="2502877" y="0"/>
                </a:cubicBezTo>
                <a:cubicBezTo>
                  <a:pt x="3712390" y="0"/>
                  <a:pt x="4721520" y="857941"/>
                  <a:pt x="4954904" y="1998460"/>
                </a:cubicBezTo>
                <a:close/>
              </a:path>
            </a:pathLst>
          </a:custGeom>
          <a:gradFill>
            <a:gsLst>
              <a:gs pos="0">
                <a:schemeClr val="accent1">
                  <a:alpha val="22000"/>
                </a:schemeClr>
              </a:gs>
              <a:gs pos="87000">
                <a:schemeClr val="accent1">
                  <a:lumMod val="60000"/>
                  <a:lumOff val="40000"/>
                  <a:alpha val="2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47C255-1F90-0B7D-469D-5A394B793AA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6118" y="735106"/>
            <a:ext cx="7540322" cy="2928470"/>
          </a:xfrm>
        </p:spPr>
        <p:txBody>
          <a:bodyPr anchor="b">
            <a:normAutofit/>
          </a:bodyPr>
          <a:lstStyle/>
          <a:p>
            <a:pPr algn="l"/>
            <a:r>
              <a:rPr lang="hr-HR" sz="4200" dirty="0">
                <a:solidFill>
                  <a:srgbClr val="FFFFFF"/>
                </a:solidFill>
              </a:rPr>
              <a:t>EV mobilit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EC3C938-B1EB-4EBE-3934-F13982A1A2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13011" y="4870824"/>
            <a:ext cx="7504463" cy="1458258"/>
          </a:xfrm>
        </p:spPr>
        <p:txBody>
          <a:bodyPr anchor="ctr">
            <a:normAutofit/>
          </a:bodyPr>
          <a:lstStyle/>
          <a:p>
            <a:pPr algn="l">
              <a:spcAft>
                <a:spcPts val="800"/>
              </a:spcAft>
            </a:pPr>
            <a:r>
              <a:rPr lang="hr-HR" u="sng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  <a:hlinkClick r:id="rId2"/>
              </a:rPr>
              <a:t>EV-MOBILITY</a:t>
            </a:r>
            <a:endParaRPr lang="hr-HR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algn="l"/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3726217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Video 4">
            <a:hlinkClick r:id="" action="ppaction://media"/>
            <a:extLst>
              <a:ext uri="{FF2B5EF4-FFF2-40B4-BE49-F238E27FC236}">
                <a16:creationId xmlns:a16="http://schemas.microsoft.com/office/drawing/2014/main" id="{E293C437-191D-1FC2-B59D-7E6BB05AD53A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82399" y="1807199"/>
            <a:ext cx="8979202" cy="5050801"/>
          </a:xfrm>
          <a:prstGeom prst="rect">
            <a:avLst/>
          </a:prstGeom>
          <a:noFill/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C35376CF-04DD-E5D5-2CB2-164C6745B553}"/>
              </a:ext>
            </a:extLst>
          </p:cNvPr>
          <p:cNvSpPr txBox="1"/>
          <p:nvPr/>
        </p:nvSpPr>
        <p:spPr bwMode="gray">
          <a:xfrm>
            <a:off x="360000" y="512764"/>
            <a:ext cx="8424000" cy="88639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algn="ctr" defTabSz="40500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</a:pPr>
            <a:r>
              <a:rPr lang="de-DE" sz="2400" b="1" kern="1200" dirty="0">
                <a:solidFill>
                  <a:srgbClr val="0075C2"/>
                </a:solidFill>
                <a:latin typeface="+mj-lt"/>
                <a:ea typeface="+mj-ea"/>
                <a:cs typeface="+mj-cs"/>
              </a:rPr>
              <a:t>Jeste li znali da</a:t>
            </a:r>
            <a:br>
              <a:rPr lang="de-DE" sz="2400" b="1" kern="1200" dirty="0">
                <a:solidFill>
                  <a:srgbClr val="0075C2"/>
                </a:solidFill>
                <a:latin typeface="+mj-lt"/>
                <a:ea typeface="+mj-ea"/>
                <a:cs typeface="+mj-cs"/>
              </a:rPr>
            </a:br>
            <a:r>
              <a:rPr lang="de-DE" sz="2400" b="1" kern="1200" dirty="0">
                <a:solidFill>
                  <a:srgbClr val="0075C2"/>
                </a:solidFill>
                <a:latin typeface="+mj-lt"/>
                <a:ea typeface="+mj-ea"/>
                <a:cs typeface="+mj-cs"/>
              </a:rPr>
              <a:t>70% svih emisija CO2 proizlazi iz potrošnje energije?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72A8EDF-E7FA-2048-7816-FAB679AF2E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spcAft>
                <a:spcPts val="600"/>
              </a:spcAft>
            </a:pPr>
            <a:fld id="{01FFFE70-FC19-4A94-9D10-0B3C8E890CB2}" type="slidenum">
              <a:rPr lang="de-DE">
                <a:latin typeface="EON Brix Sans"/>
              </a:rPr>
              <a:pPr defTabSz="685800">
                <a:spcAft>
                  <a:spcPts val="600"/>
                </a:spcAft>
              </a:pPr>
              <a:t>2</a:t>
            </a:fld>
            <a:endParaRPr lang="de-DE">
              <a:latin typeface="EON Brix Sans"/>
            </a:endParaRPr>
          </a:p>
        </p:txBody>
      </p:sp>
    </p:spTree>
    <p:extLst>
      <p:ext uri="{BB962C8B-B14F-4D97-AF65-F5344CB8AC3E}">
        <p14:creationId xmlns:p14="http://schemas.microsoft.com/office/powerpoint/2010/main" val="42330145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36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BACC6370-2D7E-4714-9D71-7542949D7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68B3F68-107C-434F-AA38-110D5EA91B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" y="0"/>
            <a:ext cx="9143999" cy="2170031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19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AD0DBB9-1A4B-4391-81D4-CB19F9AB91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6062114" y="0"/>
            <a:ext cx="3072908" cy="2170661"/>
          </a:xfrm>
          <a:prstGeom prst="rect">
            <a:avLst/>
          </a:prstGeom>
          <a:gradFill>
            <a:gsLst>
              <a:gs pos="19000">
                <a:schemeClr val="accent1">
                  <a:lumMod val="50000"/>
                  <a:alpha val="68000"/>
                </a:schemeClr>
              </a:gs>
              <a:gs pos="100000">
                <a:schemeClr val="accent1">
                  <a:alpha val="48000"/>
                </a:schemeClr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63BBA22-50EA-4C4D-BE05-F1CE4E63AA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3486646" y="-3486043"/>
            <a:ext cx="2170709" cy="9144000"/>
          </a:xfrm>
          <a:prstGeom prst="rect">
            <a:avLst/>
          </a:prstGeom>
          <a:gradFill>
            <a:gsLst>
              <a:gs pos="23000">
                <a:schemeClr val="accent1">
                  <a:lumMod val="75000"/>
                  <a:alpha val="16000"/>
                </a:schemeClr>
              </a:gs>
              <a:gs pos="99000">
                <a:srgbClr val="000000">
                  <a:alpha val="45000"/>
                </a:srgbClr>
              </a:gs>
            </a:gsLst>
            <a:lin ang="21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37673" y="348865"/>
            <a:ext cx="7288583" cy="1576446"/>
          </a:xfrm>
        </p:spPr>
        <p:txBody>
          <a:bodyPr anchor="ctr">
            <a:normAutofit/>
          </a:bodyPr>
          <a:lstStyle/>
          <a:p>
            <a:r>
              <a:rPr lang="hr-HR" sz="3500">
                <a:solidFill>
                  <a:srgbClr val="FFFFFF"/>
                </a:solidFill>
              </a:rPr>
              <a:t>Uvod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1CBA1114-5433-78E0-A8E6-F8B66597172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4310183"/>
              </p:ext>
            </p:extLst>
          </p:nvPr>
        </p:nvGraphicFramePr>
        <p:xfrm>
          <a:off x="483042" y="2615980"/>
          <a:ext cx="8195871" cy="34031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9804BC72-623D-62C6-B830-17B9A70AAAE8}"/>
              </a:ext>
            </a:extLst>
          </p:cNvPr>
          <p:cNvSpPr txBox="1"/>
          <p:nvPr/>
        </p:nvSpPr>
        <p:spPr>
          <a:xfrm>
            <a:off x="2294977" y="6005608"/>
            <a:ext cx="4572000" cy="4960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800"/>
              </a:spcAft>
            </a:pPr>
            <a:r>
              <a:rPr lang="hr-HR" sz="2400" u="sng" kern="100" dirty="0">
                <a:solidFill>
                  <a:srgbClr val="467886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  <a:hlinkClick r:id="rId7"/>
              </a:rPr>
              <a:t>Vlastita solarna elektrana</a:t>
            </a:r>
            <a:endParaRPr lang="hr-HR" sz="24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BACC6370-2D7E-4714-9D71-7542949D7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68B3F68-107C-434F-AA38-110D5EA91B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" y="0"/>
            <a:ext cx="9143999" cy="2170031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19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AD0DBB9-1A4B-4391-81D4-CB19F9AB91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6062114" y="0"/>
            <a:ext cx="3072908" cy="2170661"/>
          </a:xfrm>
          <a:prstGeom prst="rect">
            <a:avLst/>
          </a:prstGeom>
          <a:gradFill>
            <a:gsLst>
              <a:gs pos="19000">
                <a:schemeClr val="accent1">
                  <a:lumMod val="50000"/>
                  <a:alpha val="68000"/>
                </a:schemeClr>
              </a:gs>
              <a:gs pos="100000">
                <a:schemeClr val="accent1">
                  <a:alpha val="48000"/>
                </a:schemeClr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63BBA22-50EA-4C4D-BE05-F1CE4E63AA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3486646" y="-3486043"/>
            <a:ext cx="2170709" cy="9144000"/>
          </a:xfrm>
          <a:prstGeom prst="rect">
            <a:avLst/>
          </a:prstGeom>
          <a:gradFill>
            <a:gsLst>
              <a:gs pos="23000">
                <a:schemeClr val="accent1">
                  <a:lumMod val="75000"/>
                  <a:alpha val="16000"/>
                </a:schemeClr>
              </a:gs>
              <a:gs pos="99000">
                <a:srgbClr val="000000">
                  <a:alpha val="45000"/>
                </a:srgbClr>
              </a:gs>
            </a:gsLst>
            <a:lin ang="21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37673" y="348865"/>
            <a:ext cx="7288583" cy="1576446"/>
          </a:xfrm>
        </p:spPr>
        <p:txBody>
          <a:bodyPr anchor="ctr">
            <a:normAutofit/>
          </a:bodyPr>
          <a:lstStyle/>
          <a:p>
            <a:r>
              <a:rPr lang="hr-HR" sz="3500">
                <a:solidFill>
                  <a:srgbClr val="FFFFFF"/>
                </a:solidFill>
              </a:rPr>
              <a:t>Princip rada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066684F8-23F1-6928-C15E-507D1EC47D7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42633737"/>
              </p:ext>
            </p:extLst>
          </p:nvPr>
        </p:nvGraphicFramePr>
        <p:xfrm>
          <a:off x="483042" y="2615980"/>
          <a:ext cx="8195871" cy="32788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BACC6370-2D7E-4714-9D71-7542949D7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68B3F68-107C-434F-AA38-110D5EA91B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" y="0"/>
            <a:ext cx="9143999" cy="2170031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19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AD0DBB9-1A4B-4391-81D4-CB19F9AB91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6062114" y="0"/>
            <a:ext cx="3072908" cy="2170661"/>
          </a:xfrm>
          <a:prstGeom prst="rect">
            <a:avLst/>
          </a:prstGeom>
          <a:gradFill>
            <a:gsLst>
              <a:gs pos="19000">
                <a:schemeClr val="accent1">
                  <a:lumMod val="50000"/>
                  <a:alpha val="68000"/>
                </a:schemeClr>
              </a:gs>
              <a:gs pos="100000">
                <a:schemeClr val="accent1">
                  <a:alpha val="48000"/>
                </a:schemeClr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63BBA22-50EA-4C4D-BE05-F1CE4E63AA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3486646" y="-3486043"/>
            <a:ext cx="2170709" cy="9144000"/>
          </a:xfrm>
          <a:prstGeom prst="rect">
            <a:avLst/>
          </a:prstGeom>
          <a:gradFill>
            <a:gsLst>
              <a:gs pos="23000">
                <a:schemeClr val="accent1">
                  <a:lumMod val="75000"/>
                  <a:alpha val="16000"/>
                </a:schemeClr>
              </a:gs>
              <a:gs pos="99000">
                <a:srgbClr val="000000">
                  <a:alpha val="45000"/>
                </a:srgbClr>
              </a:gs>
            </a:gsLst>
            <a:lin ang="21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37673" y="348865"/>
            <a:ext cx="7288583" cy="1576446"/>
          </a:xfrm>
        </p:spPr>
        <p:txBody>
          <a:bodyPr anchor="ctr">
            <a:normAutofit/>
          </a:bodyPr>
          <a:lstStyle/>
          <a:p>
            <a:r>
              <a:rPr lang="hr-HR" sz="3500">
                <a:solidFill>
                  <a:srgbClr val="FFFFFF"/>
                </a:solidFill>
              </a:rPr>
              <a:t>Glavne komponente solarne elektrane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B418AAF9-A58E-DA6F-D7F8-48266CDBC80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81168880"/>
              </p:ext>
            </p:extLst>
          </p:nvPr>
        </p:nvGraphicFramePr>
        <p:xfrm>
          <a:off x="483042" y="2615979"/>
          <a:ext cx="8195871" cy="36894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5" name="Rectangle 34">
            <a:extLst>
              <a:ext uri="{FF2B5EF4-FFF2-40B4-BE49-F238E27FC236}">
                <a16:creationId xmlns:a16="http://schemas.microsoft.com/office/drawing/2014/main" id="{955A2079-FA98-4876-80F0-72364A7D2E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1713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557188"/>
            <a:ext cx="7886700" cy="1133499"/>
          </a:xfrm>
        </p:spPr>
        <p:txBody>
          <a:bodyPr>
            <a:normAutofit/>
          </a:bodyPr>
          <a:lstStyle/>
          <a:p>
            <a:r>
              <a:rPr lang="hr-HR" sz="4500" dirty="0"/>
              <a:t>Proces pretvorbe energije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01887A61-1D02-9258-0059-EDD8E1DBAB4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77685959"/>
              </p:ext>
            </p:extLst>
          </p:nvPr>
        </p:nvGraphicFramePr>
        <p:xfrm>
          <a:off x="628650" y="1828800"/>
          <a:ext cx="7886700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19F27408-75A8-9996-37CF-36D4B9E6F5B7}"/>
              </a:ext>
            </a:extLst>
          </p:cNvPr>
          <p:cNvSpPr txBox="1"/>
          <p:nvPr/>
        </p:nvSpPr>
        <p:spPr>
          <a:xfrm>
            <a:off x="854765" y="6200626"/>
            <a:ext cx="4572000" cy="3615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sng" strike="noStrike" kern="100" cap="none" spc="0" normalizeH="0" baseline="0" noProof="0" dirty="0">
                <a:ln>
                  <a:noFill/>
                </a:ln>
                <a:solidFill>
                  <a:srgbClr val="467886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  <a:hlinkClick r:id="rId7"/>
              </a:rPr>
              <a:t>How do solar cells work?</a:t>
            </a:r>
            <a:endParaRPr kumimoji="0" lang="hr-HR" sz="16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BACC6370-2D7E-4714-9D71-7542949D7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68B3F68-107C-434F-AA38-110D5EA91B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" y="0"/>
            <a:ext cx="9143999" cy="2170031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19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AD0DBB9-1A4B-4391-81D4-CB19F9AB91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6062114" y="0"/>
            <a:ext cx="3072908" cy="2170661"/>
          </a:xfrm>
          <a:prstGeom prst="rect">
            <a:avLst/>
          </a:prstGeom>
          <a:gradFill>
            <a:gsLst>
              <a:gs pos="19000">
                <a:schemeClr val="accent1">
                  <a:lumMod val="50000"/>
                  <a:alpha val="68000"/>
                </a:schemeClr>
              </a:gs>
              <a:gs pos="100000">
                <a:schemeClr val="accent1">
                  <a:alpha val="48000"/>
                </a:schemeClr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63BBA22-50EA-4C4D-BE05-F1CE4E63AA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3486646" y="-3486043"/>
            <a:ext cx="2170709" cy="9144000"/>
          </a:xfrm>
          <a:prstGeom prst="rect">
            <a:avLst/>
          </a:prstGeom>
          <a:gradFill>
            <a:gsLst>
              <a:gs pos="23000">
                <a:schemeClr val="accent1">
                  <a:lumMod val="75000"/>
                  <a:alpha val="16000"/>
                </a:schemeClr>
              </a:gs>
              <a:gs pos="99000">
                <a:srgbClr val="000000">
                  <a:alpha val="45000"/>
                </a:srgbClr>
              </a:gs>
            </a:gsLst>
            <a:lin ang="21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37673" y="348865"/>
            <a:ext cx="7288583" cy="1576446"/>
          </a:xfrm>
        </p:spPr>
        <p:txBody>
          <a:bodyPr anchor="ctr">
            <a:normAutofit/>
          </a:bodyPr>
          <a:lstStyle/>
          <a:p>
            <a:r>
              <a:rPr lang="hr-HR" sz="3500">
                <a:solidFill>
                  <a:srgbClr val="FFFFFF"/>
                </a:solidFill>
              </a:rPr>
              <a:t>Vrste solarnih elektrana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237D70BD-ED0A-DCC2-D691-376D1105F9E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56024510"/>
              </p:ext>
            </p:extLst>
          </p:nvPr>
        </p:nvGraphicFramePr>
        <p:xfrm>
          <a:off x="483042" y="2615979"/>
          <a:ext cx="8195871" cy="36894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BACC6370-2D7E-4714-9D71-7542949D7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68B3F68-107C-434F-AA38-110D5EA91B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" y="0"/>
            <a:ext cx="9143999" cy="2170031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19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AD0DBB9-1A4B-4391-81D4-CB19F9AB91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6062114" y="0"/>
            <a:ext cx="3072908" cy="2170661"/>
          </a:xfrm>
          <a:prstGeom prst="rect">
            <a:avLst/>
          </a:prstGeom>
          <a:gradFill>
            <a:gsLst>
              <a:gs pos="19000">
                <a:schemeClr val="accent1">
                  <a:lumMod val="50000"/>
                  <a:alpha val="68000"/>
                </a:schemeClr>
              </a:gs>
              <a:gs pos="100000">
                <a:schemeClr val="accent1">
                  <a:alpha val="48000"/>
                </a:schemeClr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63BBA22-50EA-4C4D-BE05-F1CE4E63AA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3486646" y="-3486043"/>
            <a:ext cx="2170709" cy="9144000"/>
          </a:xfrm>
          <a:prstGeom prst="rect">
            <a:avLst/>
          </a:prstGeom>
          <a:gradFill>
            <a:gsLst>
              <a:gs pos="23000">
                <a:schemeClr val="accent1">
                  <a:lumMod val="75000"/>
                  <a:alpha val="16000"/>
                </a:schemeClr>
              </a:gs>
              <a:gs pos="99000">
                <a:srgbClr val="000000">
                  <a:alpha val="45000"/>
                </a:srgbClr>
              </a:gs>
            </a:gsLst>
            <a:lin ang="21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37673" y="348865"/>
            <a:ext cx="7288583" cy="1576446"/>
          </a:xfrm>
        </p:spPr>
        <p:txBody>
          <a:bodyPr anchor="ctr">
            <a:normAutofit/>
          </a:bodyPr>
          <a:lstStyle/>
          <a:p>
            <a:r>
              <a:rPr lang="hr-HR" sz="3500">
                <a:solidFill>
                  <a:srgbClr val="FFFFFF"/>
                </a:solidFill>
              </a:rPr>
              <a:t>Prednosti solarnih elektrana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F75A60AC-8F1B-6A11-AF86-17E1B6528F7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71681272"/>
              </p:ext>
            </p:extLst>
          </p:nvPr>
        </p:nvGraphicFramePr>
        <p:xfrm>
          <a:off x="483042" y="2615979"/>
          <a:ext cx="8195871" cy="36894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BACC6370-2D7E-4714-9D71-7542949D7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68B3F68-107C-434F-AA38-110D5EA91B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" y="0"/>
            <a:ext cx="9143999" cy="2170031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19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AD0DBB9-1A4B-4391-81D4-CB19F9AB91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6062114" y="0"/>
            <a:ext cx="3072908" cy="2170661"/>
          </a:xfrm>
          <a:prstGeom prst="rect">
            <a:avLst/>
          </a:prstGeom>
          <a:gradFill>
            <a:gsLst>
              <a:gs pos="19000">
                <a:schemeClr val="accent1">
                  <a:lumMod val="50000"/>
                  <a:alpha val="68000"/>
                </a:schemeClr>
              </a:gs>
              <a:gs pos="100000">
                <a:schemeClr val="accent1">
                  <a:alpha val="48000"/>
                </a:schemeClr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63BBA22-50EA-4C4D-BE05-F1CE4E63AA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3486646" y="-3486043"/>
            <a:ext cx="2170709" cy="9144000"/>
          </a:xfrm>
          <a:prstGeom prst="rect">
            <a:avLst/>
          </a:prstGeom>
          <a:gradFill>
            <a:gsLst>
              <a:gs pos="23000">
                <a:schemeClr val="accent1">
                  <a:lumMod val="75000"/>
                  <a:alpha val="16000"/>
                </a:schemeClr>
              </a:gs>
              <a:gs pos="99000">
                <a:srgbClr val="000000">
                  <a:alpha val="45000"/>
                </a:srgbClr>
              </a:gs>
            </a:gsLst>
            <a:lin ang="21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37673" y="348865"/>
            <a:ext cx="7288583" cy="1576446"/>
          </a:xfrm>
        </p:spPr>
        <p:txBody>
          <a:bodyPr anchor="ctr">
            <a:normAutofit/>
          </a:bodyPr>
          <a:lstStyle/>
          <a:p>
            <a:r>
              <a:rPr lang="hr-HR" sz="3500">
                <a:solidFill>
                  <a:srgbClr val="FFFFFF"/>
                </a:solidFill>
              </a:rPr>
              <a:t>Statistika rasta solarne energije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CEBBC54D-7D6A-93DC-DA6E-EDDDBBC8654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63474179"/>
              </p:ext>
            </p:extLst>
          </p:nvPr>
        </p:nvGraphicFramePr>
        <p:xfrm>
          <a:off x="483042" y="2615979"/>
          <a:ext cx="8195871" cy="36894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UPDATE" val="True"/>
  <p:tag name="MIO_FALLBACK_LAYOUT" val="10"/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False"/>
  <p:tag name="MIO_EKGUID" val="eb6f9806-6aca-42a5-a15d-21eb542aa4f3"/>
  <p:tag name="MIO_DBID" val="D7590C14-188D-4365-94A4-B777FB29057E"/>
  <p:tag name="MIO_OBJECTNAME" val="# E.ON"/>
  <p:tag name="MIO_NUMBER_OF_VALID_LAYOUTS" val="27"/>
  <p:tag name="MIO_VERSION" val="20.06.2023 11:00:13"/>
  <p:tag name="MIO_LASTDOWNLOADED" val="01.08.2023 07:08:57.546"/>
  <p:tag name="MIO_CDID" val="4d0307e6-a3f9-4dd6-817a-a971db264043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E.ON">
  <a:themeElements>
    <a:clrScheme name="E.ON 2024-03-22">
      <a:dk1>
        <a:srgbClr val="1A1A1A"/>
      </a:dk1>
      <a:lt1>
        <a:srgbClr val="FFFFFF"/>
      </a:lt1>
      <a:dk2>
        <a:srgbClr val="1A1A1A"/>
      </a:dk2>
      <a:lt2>
        <a:srgbClr val="FFFFFF"/>
      </a:lt2>
      <a:accent1>
        <a:srgbClr val="EA1B0A"/>
      </a:accent1>
      <a:accent2>
        <a:srgbClr val="9D1207"/>
      </a:accent2>
      <a:accent3>
        <a:srgbClr val="F05B48"/>
      </a:accent3>
      <a:accent4>
        <a:srgbClr val="F6C1B0"/>
      </a:accent4>
      <a:accent5>
        <a:srgbClr val="961482"/>
      </a:accent5>
      <a:accent6>
        <a:srgbClr val="CA6FBA"/>
      </a:accent6>
      <a:hlink>
        <a:srgbClr val="1A1A1A"/>
      </a:hlink>
      <a:folHlink>
        <a:srgbClr val="1A1A1A"/>
      </a:folHlink>
    </a:clrScheme>
    <a:fontScheme name="Benutzerdefiniert 45">
      <a:majorFont>
        <a:latin typeface="EON Brix Sans"/>
        <a:ea typeface=""/>
        <a:cs typeface=""/>
      </a:majorFont>
      <a:minorFont>
        <a:latin typeface="EON Bri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ctr"/>
      <a:lstStyle>
        <a:defPPr algn="ctr" defTabSz="540000">
          <a:lnSpc>
            <a:spcPct val="120000"/>
          </a:lnSpc>
          <a:spcAft>
            <a:spcPts val="400"/>
          </a:spcAft>
          <a:defRPr sz="14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defTabSz="540000">
          <a:lnSpc>
            <a:spcPct val="120000"/>
          </a:lnSpc>
          <a:spcAft>
            <a:spcPts val="400"/>
          </a:spcAft>
          <a:defRPr dirty="0"/>
        </a:defPPr>
      </a:lstStyle>
    </a:txDef>
  </a:objectDefaults>
  <a:extraClrSchemeLst/>
  <a:custClrLst>
    <a:custClr name="Red 100">
      <a:srgbClr val="F6E5DC"/>
    </a:custClr>
    <a:custClr name="Red 200">
      <a:srgbClr val="F6C1B0"/>
    </a:custClr>
    <a:custClr name="Red 300">
      <a:srgbClr val="F59A86"/>
    </a:custClr>
    <a:custClr name="Red 400">
      <a:srgbClr val="F05B48"/>
    </a:custClr>
    <a:custClr name="Red 500">
      <a:srgbClr val="EA1B0A"/>
    </a:custClr>
    <a:custClr name="Red 600">
      <a:srgbClr val="C41708"/>
    </a:custClr>
    <a:custClr name="Red 700">
      <a:srgbClr val="9D1207"/>
    </a:custClr>
    <a:custClr name="Red 800">
      <a:srgbClr val="750E05"/>
    </a:custClr>
    <a:custClr name="Red 900">
      <a:srgbClr val="4E0903"/>
    </a:custClr>
    <a:custClr>
      <a:srgbClr val="FFFFFF"/>
    </a:custClr>
    <a:custClr name="Purple 100">
      <a:srgbClr val="F0D8EB"/>
    </a:custClr>
    <a:custClr name="Purple 200">
      <a:srgbClr val="DBA6D1"/>
    </a:custClr>
    <a:custClr name="Purple 300">
      <a:srgbClr val="CA6FBA"/>
    </a:custClr>
    <a:custClr name="Purple 400">
      <a:srgbClr val="B0429D"/>
    </a:custClr>
    <a:custClr name="Purple 500">
      <a:srgbClr val="961482"/>
    </a:custClr>
    <a:custClr name="Purple 600">
      <a:srgbClr val="821171"/>
    </a:custClr>
    <a:custClr name="Purple 700">
      <a:srgbClr val="710F62"/>
    </a:custClr>
    <a:custClr name="Purple 800">
      <a:srgbClr val="5F0C52"/>
    </a:custClr>
    <a:custClr name="Purple 900">
      <a:srgbClr val="4D0A42"/>
    </a:custClr>
    <a:custClr>
      <a:srgbClr val="FFFFFF"/>
    </a:custClr>
    <a:custClr name="Grey 100">
      <a:srgbClr val="F8F5F2"/>
    </a:custClr>
    <a:custClr name="Grey 200">
      <a:srgbClr val="F0EBE5"/>
    </a:custClr>
    <a:custClr name="Grey 300">
      <a:srgbClr val="D7D0CC"/>
    </a:custClr>
    <a:custClr name="Grey 400">
      <a:srgbClr val="B3ACA9"/>
    </a:custClr>
    <a:custClr name="Grey 500">
      <a:srgbClr val="958D8B"/>
    </a:custClr>
    <a:custClr name="Grey 600">
      <a:srgbClr val="767676"/>
    </a:custClr>
    <a:custClr name="Grey 700">
      <a:srgbClr val="5C5C5C"/>
    </a:custClr>
    <a:custClr name="Grey 800">
      <a:srgbClr val="404040"/>
    </a:custClr>
    <a:custClr name="Grey 900">
      <a:srgbClr val="262626"/>
    </a:custClr>
    <a:custClr>
      <a:srgbClr val="FFFFFF"/>
    </a:custClr>
    <a:custClr name="Blue 100">
      <a:srgbClr val="CCEBFF"/>
    </a:custClr>
    <a:custClr name="Blue 200">
      <a:srgbClr val="A3DAFF"/>
    </a:custClr>
    <a:custClr name="Blue 300">
      <a:srgbClr val="7ACAFF"/>
    </a:custClr>
    <a:custClr name="Blue 400">
      <a:srgbClr val="52BAFF"/>
    </a:custClr>
    <a:custClr name="Blue 500">
      <a:srgbClr val="27A9FF"/>
    </a:custClr>
    <a:custClr name="Blue 600">
      <a:srgbClr val="0093F5"/>
    </a:custClr>
    <a:custClr name="Blue 700">
      <a:srgbClr val="0075C2"/>
    </a:custClr>
    <a:custClr name="Blue 800">
      <a:srgbClr val="00568F"/>
    </a:custClr>
    <a:custClr name="Blue 900">
      <a:srgbClr val="00375C"/>
    </a:custClr>
    <a:custClr>
      <a:srgbClr val="FFFFFF"/>
    </a:custClr>
  </a:custClrLst>
  <a:extLst>
    <a:ext uri="{05A4C25C-085E-4340-85A3-A5531E510DB2}">
      <thm15:themeFamily xmlns:thm15="http://schemas.microsoft.com/office/thememl/2012/main" name="EON_Presentation.potx" id="{DF8E845A-5D12-4081-9F64-0316D9C40326}" vid="{18658613-AEAC-420B-BBCC-8E65C7B71D73}"/>
    </a:ext>
  </a:extLst>
</a:theme>
</file>

<file path=docMetadata/LabelInfo.xml><?xml version="1.0" encoding="utf-8"?>
<clbl:labelList xmlns:clbl="http://schemas.microsoft.com/office/2020/mipLabelMetadata">
  <clbl:label id="{42f063bf-ce3a-473c-8609-3866002c85b0}" enabled="1" method="Standard" siteId="{b914a242-e718-443b-a47c-6b4c649d8c0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479</TotalTime>
  <Words>607</Words>
  <Application>Microsoft Office PowerPoint</Application>
  <PresentationFormat>On-screen Show (4:3)</PresentationFormat>
  <Paragraphs>78</Paragraphs>
  <Slides>16</Slides>
  <Notes>0</Notes>
  <HiddenSlides>0</HiddenSlides>
  <MMClips>1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4" baseType="lpstr">
      <vt:lpstr>Aptos</vt:lpstr>
      <vt:lpstr>Arial</vt:lpstr>
      <vt:lpstr>Calibri</vt:lpstr>
      <vt:lpstr>EON Brix Sans</vt:lpstr>
      <vt:lpstr>EON Office Head</vt:lpstr>
      <vt:lpstr>Office Theme</vt:lpstr>
      <vt:lpstr>E.ON</vt:lpstr>
      <vt:lpstr>think-cell Folie</vt:lpstr>
      <vt:lpstr>Kako radi solarna elektrana</vt:lpstr>
      <vt:lpstr>PowerPoint Presentation</vt:lpstr>
      <vt:lpstr>Uvod</vt:lpstr>
      <vt:lpstr>Princip rada</vt:lpstr>
      <vt:lpstr>Glavne komponente solarne elektrane</vt:lpstr>
      <vt:lpstr>Proces pretvorbe energije</vt:lpstr>
      <vt:lpstr>Vrste solarnih elektrana</vt:lpstr>
      <vt:lpstr>Prednosti solarnih elektrana</vt:lpstr>
      <vt:lpstr>Statistika rasta solarne energije</vt:lpstr>
      <vt:lpstr>Zaključak</vt:lpstr>
      <vt:lpstr> Pliva</vt:lpstr>
      <vt:lpstr> Bauhaus</vt:lpstr>
      <vt:lpstr> Koljane</vt:lpstr>
      <vt:lpstr>CHP Aquafil Ljubljana, Slovenija</vt:lpstr>
      <vt:lpstr>CHP Bauwerk Đurđevac, Hrvatska</vt:lpstr>
      <vt:lpstr>EV mobility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>generated using python-pptx</dc:description>
  <cp:lastModifiedBy>Ban-Kolić, Ines</cp:lastModifiedBy>
  <cp:revision>5</cp:revision>
  <dcterms:created xsi:type="dcterms:W3CDTF">2013-01-27T09:14:16Z</dcterms:created>
  <dcterms:modified xsi:type="dcterms:W3CDTF">2025-04-29T08:44:19Z</dcterms:modified>
  <cp:category/>
</cp:coreProperties>
</file>